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119.xml" ContentType="application/vnd.openxmlformats-officedocument.presentationml.tags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5" r:id="rId1"/>
    <p:sldMasterId id="2147483681" r:id="rId2"/>
    <p:sldMasterId id="2147483694" r:id="rId3"/>
    <p:sldMasterId id="2147483701" r:id="rId4"/>
    <p:sldMasterId id="2147483710" r:id="rId5"/>
    <p:sldMasterId id="2147483723" r:id="rId6"/>
  </p:sldMasterIdLst>
  <p:notesMasterIdLst>
    <p:notesMasterId r:id="rId24"/>
  </p:notesMasterIdLst>
  <p:sldIdLst>
    <p:sldId id="277" r:id="rId7"/>
    <p:sldId id="449" r:id="rId8"/>
    <p:sldId id="451" r:id="rId9"/>
    <p:sldId id="447" r:id="rId10"/>
    <p:sldId id="448" r:id="rId11"/>
    <p:sldId id="440" r:id="rId12"/>
    <p:sldId id="446" r:id="rId13"/>
    <p:sldId id="441" r:id="rId14"/>
    <p:sldId id="436" r:id="rId15"/>
    <p:sldId id="437" r:id="rId16"/>
    <p:sldId id="438" r:id="rId17"/>
    <p:sldId id="439" r:id="rId18"/>
    <p:sldId id="443" r:id="rId19"/>
    <p:sldId id="423" r:id="rId20"/>
    <p:sldId id="426" r:id="rId21"/>
    <p:sldId id="435" r:id="rId22"/>
    <p:sldId id="453" r:id="rId23"/>
  </p:sldIdLst>
  <p:sldSz cx="9144000" cy="6858000" type="screen4x3"/>
  <p:notesSz cx="6797675" cy="9874250"/>
  <p:defaultTextStyle>
    <a:defPPr>
      <a:defRPr lang="hu-HU"/>
    </a:defPPr>
    <a:lvl1pPr marL="0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3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0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6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3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0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36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3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DF49"/>
    <a:srgbClr val="509C1C"/>
    <a:srgbClr val="D4D9FC"/>
    <a:srgbClr val="EAF9DF"/>
    <a:srgbClr val="55A61E"/>
    <a:srgbClr val="FF9379"/>
    <a:srgbClr val="CFF2B8"/>
    <a:srgbClr val="ACE9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Közepesen sötét stílus 1 – 1. jelölőszín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incs stílus, csak rács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ílus és rács nélkül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 varScale="1">
        <p:scale>
          <a:sx n="113" d="100"/>
          <a:sy n="113" d="100"/>
        </p:scale>
        <p:origin x="-918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munkalap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munkalap2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2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-munkalap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munkalap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-munkalap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184617405534127E-2"/>
          <c:y val="0.10095835357505631"/>
          <c:w val="0.92510970395113912"/>
          <c:h val="0.73732322205850065"/>
        </c:manualLayout>
      </c:layout>
      <c:areaChart>
        <c:grouping val="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Támogatott HUF lakáshitel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B$2:$B$196</c:f>
              <c:numCache>
                <c:formatCode>General</c:formatCode>
                <c:ptCount val="1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.2797345970219414</c:v>
                </c:pt>
                <c:pt idx="13">
                  <c:v>1.7940592437060849</c:v>
                </c:pt>
                <c:pt idx="14">
                  <c:v>2.0130801462816152</c:v>
                </c:pt>
                <c:pt idx="15">
                  <c:v>2.4950506549278977</c:v>
                </c:pt>
                <c:pt idx="16">
                  <c:v>6.5660562636843149</c:v>
                </c:pt>
                <c:pt idx="17">
                  <c:v>10.338758711673288</c:v>
                </c:pt>
                <c:pt idx="18">
                  <c:v>10.094897344006657</c:v>
                </c:pt>
                <c:pt idx="19">
                  <c:v>9.5752235298984338</c:v>
                </c:pt>
                <c:pt idx="20">
                  <c:v>9.2905631451802986</c:v>
                </c:pt>
                <c:pt idx="21">
                  <c:v>11.099531752185564</c:v>
                </c:pt>
                <c:pt idx="22">
                  <c:v>7.8610962688643555</c:v>
                </c:pt>
                <c:pt idx="23">
                  <c:v>9.1642138368969324</c:v>
                </c:pt>
                <c:pt idx="24">
                  <c:v>9.2959008131999923</c:v>
                </c:pt>
                <c:pt idx="25">
                  <c:v>10.147308844150661</c:v>
                </c:pt>
                <c:pt idx="26">
                  <c:v>13.262084456458474</c:v>
                </c:pt>
                <c:pt idx="27">
                  <c:v>18.984539562852365</c:v>
                </c:pt>
                <c:pt idx="28">
                  <c:v>28.107165672500223</c:v>
                </c:pt>
                <c:pt idx="29">
                  <c:v>35.174795821108972</c:v>
                </c:pt>
                <c:pt idx="30">
                  <c:v>43.436952638241912</c:v>
                </c:pt>
                <c:pt idx="31">
                  <c:v>39.641589504970646</c:v>
                </c:pt>
                <c:pt idx="32">
                  <c:v>42.428536488599995</c:v>
                </c:pt>
                <c:pt idx="33">
                  <c:v>45.267522428239687</c:v>
                </c:pt>
                <c:pt idx="34">
                  <c:v>41.915456312549033</c:v>
                </c:pt>
                <c:pt idx="35">
                  <c:v>43.625825168878208</c:v>
                </c:pt>
                <c:pt idx="36">
                  <c:v>40.089462582185185</c:v>
                </c:pt>
                <c:pt idx="37">
                  <c:v>42.717859835001455</c:v>
                </c:pt>
                <c:pt idx="38">
                  <c:v>47.189892457808092</c:v>
                </c:pt>
                <c:pt idx="39">
                  <c:v>57.211617655680698</c:v>
                </c:pt>
                <c:pt idx="40">
                  <c:v>64.060138112986223</c:v>
                </c:pt>
                <c:pt idx="41">
                  <c:v>70.739580384438213</c:v>
                </c:pt>
                <c:pt idx="42">
                  <c:v>76.585586749863879</c:v>
                </c:pt>
                <c:pt idx="43">
                  <c:v>64.985798484023618</c:v>
                </c:pt>
                <c:pt idx="44">
                  <c:v>71.464567151053217</c:v>
                </c:pt>
                <c:pt idx="45">
                  <c:v>62.105491812890008</c:v>
                </c:pt>
                <c:pt idx="46">
                  <c:v>54.108435194103613</c:v>
                </c:pt>
                <c:pt idx="47">
                  <c:v>53.011134846517862</c:v>
                </c:pt>
                <c:pt idx="48">
                  <c:v>37.020168883998963</c:v>
                </c:pt>
                <c:pt idx="49">
                  <c:v>40.681436032040104</c:v>
                </c:pt>
                <c:pt idx="50">
                  <c:v>31.476651824149471</c:v>
                </c:pt>
                <c:pt idx="51">
                  <c:v>18.321083265287999</c:v>
                </c:pt>
                <c:pt idx="52">
                  <c:v>14.641187664511412</c:v>
                </c:pt>
                <c:pt idx="53">
                  <c:v>16.14621140842743</c:v>
                </c:pt>
                <c:pt idx="54">
                  <c:v>13.244053709354722</c:v>
                </c:pt>
                <c:pt idx="55">
                  <c:v>11.780167798562783</c:v>
                </c:pt>
                <c:pt idx="56">
                  <c:v>15.655662153061307</c:v>
                </c:pt>
                <c:pt idx="57">
                  <c:v>17.114260688018536</c:v>
                </c:pt>
                <c:pt idx="58">
                  <c:v>14.456471031929102</c:v>
                </c:pt>
                <c:pt idx="59">
                  <c:v>11.816941140448039</c:v>
                </c:pt>
                <c:pt idx="60">
                  <c:v>11.260129117486537</c:v>
                </c:pt>
                <c:pt idx="61">
                  <c:v>11.384834518384892</c:v>
                </c:pt>
                <c:pt idx="62">
                  <c:v>13.06731655343507</c:v>
                </c:pt>
                <c:pt idx="63">
                  <c:v>14.581681119141157</c:v>
                </c:pt>
                <c:pt idx="64">
                  <c:v>14.691361251250703</c:v>
                </c:pt>
                <c:pt idx="65">
                  <c:v>18.000575112379746</c:v>
                </c:pt>
                <c:pt idx="66">
                  <c:v>15.242765466693228</c:v>
                </c:pt>
                <c:pt idx="67">
                  <c:v>16.279707196115542</c:v>
                </c:pt>
                <c:pt idx="68">
                  <c:v>14.056590276217261</c:v>
                </c:pt>
                <c:pt idx="69">
                  <c:v>13.503925350458481</c:v>
                </c:pt>
                <c:pt idx="70">
                  <c:v>13.67196454584635</c:v>
                </c:pt>
                <c:pt idx="71">
                  <c:v>12.878793729864123</c:v>
                </c:pt>
                <c:pt idx="72">
                  <c:v>9.33154185473742</c:v>
                </c:pt>
                <c:pt idx="73">
                  <c:v>9.1380092512138837</c:v>
                </c:pt>
                <c:pt idx="74">
                  <c:v>10.331215154737903</c:v>
                </c:pt>
                <c:pt idx="75">
                  <c:v>10.343293966256498</c:v>
                </c:pt>
                <c:pt idx="76">
                  <c:v>11.912774937994159</c:v>
                </c:pt>
                <c:pt idx="77">
                  <c:v>14.844211114950218</c:v>
                </c:pt>
                <c:pt idx="78">
                  <c:v>11.853574963643455</c:v>
                </c:pt>
                <c:pt idx="79">
                  <c:v>15.318713414532033</c:v>
                </c:pt>
                <c:pt idx="80">
                  <c:v>13.851264946704337</c:v>
                </c:pt>
                <c:pt idx="81">
                  <c:v>12.566011366149674</c:v>
                </c:pt>
                <c:pt idx="82">
                  <c:v>16.51676594226263</c:v>
                </c:pt>
                <c:pt idx="83">
                  <c:v>14.783661722400538</c:v>
                </c:pt>
                <c:pt idx="84">
                  <c:v>8.3453981376339943</c:v>
                </c:pt>
                <c:pt idx="85">
                  <c:v>6.8567314272588051</c:v>
                </c:pt>
                <c:pt idx="86">
                  <c:v>7.2143234781776417</c:v>
                </c:pt>
                <c:pt idx="87">
                  <c:v>7.5415362117151572</c:v>
                </c:pt>
                <c:pt idx="88">
                  <c:v>8.5239016251914155</c:v>
                </c:pt>
                <c:pt idx="89">
                  <c:v>7.95038933212098</c:v>
                </c:pt>
                <c:pt idx="90">
                  <c:v>9.6156456380168525</c:v>
                </c:pt>
                <c:pt idx="91">
                  <c:v>8.9548289615237309</c:v>
                </c:pt>
                <c:pt idx="92">
                  <c:v>7.5127997343032185</c:v>
                </c:pt>
                <c:pt idx="93">
                  <c:v>8.1185259044793217</c:v>
                </c:pt>
                <c:pt idx="94">
                  <c:v>7.6779704351071958</c:v>
                </c:pt>
                <c:pt idx="95">
                  <c:v>7.7493315028713639</c:v>
                </c:pt>
                <c:pt idx="96">
                  <c:v>6.6775206388951833</c:v>
                </c:pt>
                <c:pt idx="97">
                  <c:v>4.947901483450468</c:v>
                </c:pt>
                <c:pt idx="98">
                  <c:v>5.3971069905539153</c:v>
                </c:pt>
                <c:pt idx="99">
                  <c:v>7.5561656934179702</c:v>
                </c:pt>
                <c:pt idx="100">
                  <c:v>6.1482605626464109</c:v>
                </c:pt>
                <c:pt idx="101">
                  <c:v>7.0261596736189809</c:v>
                </c:pt>
                <c:pt idx="102">
                  <c:v>7.8753422745031401</c:v>
                </c:pt>
                <c:pt idx="103">
                  <c:v>5.8974127196402906</c:v>
                </c:pt>
                <c:pt idx="104">
                  <c:v>6.7915550216882012</c:v>
                </c:pt>
                <c:pt idx="105">
                  <c:v>7.5792544223532099</c:v>
                </c:pt>
                <c:pt idx="106">
                  <c:v>9.1767705271669353</c:v>
                </c:pt>
                <c:pt idx="107">
                  <c:v>8.0033156086677231</c:v>
                </c:pt>
                <c:pt idx="108">
                  <c:v>5.6769414122763422</c:v>
                </c:pt>
                <c:pt idx="109">
                  <c:v>5.6290404570079478</c:v>
                </c:pt>
                <c:pt idx="110">
                  <c:v>6.6472338389661987</c:v>
                </c:pt>
                <c:pt idx="111">
                  <c:v>7.0991193891650095</c:v>
                </c:pt>
                <c:pt idx="112">
                  <c:v>7.7563235666003978</c:v>
                </c:pt>
                <c:pt idx="113">
                  <c:v>13.366641280815109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8.8351240000000081E-2</c:v>
                </c:pt>
                <c:pt idx="119">
                  <c:v>9.9705163706000133E-2</c:v>
                </c:pt>
                <c:pt idx="120">
                  <c:v>0.26748999377886479</c:v>
                </c:pt>
                <c:pt idx="121">
                  <c:v>0.37382202276569343</c:v>
                </c:pt>
                <c:pt idx="122">
                  <c:v>0.54078863651041653</c:v>
                </c:pt>
                <c:pt idx="123">
                  <c:v>0.8271093790919849</c:v>
                </c:pt>
                <c:pt idx="124">
                  <c:v>0.89248998645960564</c:v>
                </c:pt>
                <c:pt idx="125">
                  <c:v>1.2631626563243066</c:v>
                </c:pt>
                <c:pt idx="126">
                  <c:v>1.1381211464226246</c:v>
                </c:pt>
                <c:pt idx="127">
                  <c:v>1.2102514138756677</c:v>
                </c:pt>
                <c:pt idx="128">
                  <c:v>1.1954106733634313</c:v>
                </c:pt>
                <c:pt idx="129">
                  <c:v>1.0562114767505606</c:v>
                </c:pt>
                <c:pt idx="130">
                  <c:v>1.1140279216921587</c:v>
                </c:pt>
                <c:pt idx="131">
                  <c:v>1.1070071457166397</c:v>
                </c:pt>
                <c:pt idx="132">
                  <c:v>0.30419524618323945</c:v>
                </c:pt>
                <c:pt idx="133">
                  <c:v>0.32844079930604397</c:v>
                </c:pt>
                <c:pt idx="134">
                  <c:v>0.42586302016865796</c:v>
                </c:pt>
                <c:pt idx="135">
                  <c:v>0.40379465480059729</c:v>
                </c:pt>
                <c:pt idx="136">
                  <c:v>0.4876409769413213</c:v>
                </c:pt>
                <c:pt idx="137">
                  <c:v>0.53114718601106781</c:v>
                </c:pt>
                <c:pt idx="138">
                  <c:v>0.48373932139406206</c:v>
                </c:pt>
                <c:pt idx="139">
                  <c:v>0.51867055890284608</c:v>
                </c:pt>
                <c:pt idx="140">
                  <c:v>0.46407513265108929</c:v>
                </c:pt>
                <c:pt idx="141">
                  <c:v>0.42744043492621231</c:v>
                </c:pt>
                <c:pt idx="142">
                  <c:v>0.60474411232431546</c:v>
                </c:pt>
                <c:pt idx="143">
                  <c:v>1.0857136182185518</c:v>
                </c:pt>
                <c:pt idx="144">
                  <c:v>2.6946992086700154</c:v>
                </c:pt>
                <c:pt idx="145">
                  <c:v>1.6320996560607306</c:v>
                </c:pt>
                <c:pt idx="146">
                  <c:v>0.52126021042260751</c:v>
                </c:pt>
                <c:pt idx="147">
                  <c:v>0.43811663779405607</c:v>
                </c:pt>
                <c:pt idx="148">
                  <c:v>0.52286819954393826</c:v>
                </c:pt>
                <c:pt idx="149">
                  <c:v>0.49001484099810716</c:v>
                </c:pt>
                <c:pt idx="150">
                  <c:v>0.51591032394904857</c:v>
                </c:pt>
                <c:pt idx="151">
                  <c:v>0.47170530023093571</c:v>
                </c:pt>
                <c:pt idx="152">
                  <c:v>0.43995050974335653</c:v>
                </c:pt>
                <c:pt idx="153">
                  <c:v>0.41723436708609496</c:v>
                </c:pt>
                <c:pt idx="154">
                  <c:v>0.4253920367851039</c:v>
                </c:pt>
                <c:pt idx="155">
                  <c:v>0.37859927692434342</c:v>
                </c:pt>
                <c:pt idx="156">
                  <c:v>2.1187545961058887</c:v>
                </c:pt>
                <c:pt idx="157">
                  <c:v>1.9824284541530786</c:v>
                </c:pt>
                <c:pt idx="158">
                  <c:v>2.3769518082869752</c:v>
                </c:pt>
                <c:pt idx="159">
                  <c:v>2.6862859044504126</c:v>
                </c:pt>
                <c:pt idx="160">
                  <c:v>3.5480877167274154</c:v>
                </c:pt>
                <c:pt idx="161">
                  <c:v>3.5837599733358907</c:v>
                </c:pt>
                <c:pt idx="162">
                  <c:v>3.9792967541147126</c:v>
                </c:pt>
                <c:pt idx="163">
                  <c:v>3.6179733807404579</c:v>
                </c:pt>
                <c:pt idx="164">
                  <c:v>3.9137213146556684</c:v>
                </c:pt>
                <c:pt idx="165">
                  <c:v>3.8438439087665448</c:v>
                </c:pt>
                <c:pt idx="166">
                  <c:v>3.5720791151160545</c:v>
                </c:pt>
                <c:pt idx="167">
                  <c:v>3.8287016062919634</c:v>
                </c:pt>
                <c:pt idx="168">
                  <c:v>2.9108155234160886</c:v>
                </c:pt>
                <c:pt idx="169">
                  <c:v>2.8094471974968283</c:v>
                </c:pt>
                <c:pt idx="170">
                  <c:v>3.5214385433023851</c:v>
                </c:pt>
                <c:pt idx="171">
                  <c:v>4.5355774770338275</c:v>
                </c:pt>
                <c:pt idx="172">
                  <c:v>5.1458698240091634</c:v>
                </c:pt>
                <c:pt idx="173">
                  <c:v>8.658524822692133</c:v>
                </c:pt>
                <c:pt idx="174">
                  <c:v>6.3809927402347739</c:v>
                </c:pt>
                <c:pt idx="175">
                  <c:v>5.6448036471348493</c:v>
                </c:pt>
                <c:pt idx="176">
                  <c:v>6.0759715683749818</c:v>
                </c:pt>
                <c:pt idx="177">
                  <c:v>5.3591090351016426</c:v>
                </c:pt>
                <c:pt idx="178">
                  <c:v>5.2817882607223199</c:v>
                </c:pt>
                <c:pt idx="179">
                  <c:v>5.7099990213587484</c:v>
                </c:pt>
                <c:pt idx="180">
                  <c:v>3.2707238720141132</c:v>
                </c:pt>
                <c:pt idx="181">
                  <c:v>1.765130390907822</c:v>
                </c:pt>
                <c:pt idx="182">
                  <c:v>3.2455284217341664</c:v>
                </c:pt>
                <c:pt idx="183">
                  <c:v>3.5109708149987866</c:v>
                </c:pt>
                <c:pt idx="184">
                  <c:v>3.3393503090862637</c:v>
                </c:pt>
                <c:pt idx="185">
                  <c:v>4.4332961912588544</c:v>
                </c:pt>
                <c:pt idx="186">
                  <c:v>3.9741634374636896</c:v>
                </c:pt>
                <c:pt idx="187">
                  <c:v>3.9478299065503952</c:v>
                </c:pt>
                <c:pt idx="188">
                  <c:v>4.7002613856408697</c:v>
                </c:pt>
                <c:pt idx="189">
                  <c:v>4.2537034319797176</c:v>
                </c:pt>
                <c:pt idx="190">
                  <c:v>4.1248735884388399</c:v>
                </c:pt>
                <c:pt idx="191">
                  <c:v>4.3551682499264883</c:v>
                </c:pt>
                <c:pt idx="192">
                  <c:v>3.2397885849304919</c:v>
                </c:pt>
                <c:pt idx="193">
                  <c:v>3.6627206145124749</c:v>
                </c:pt>
                <c:pt idx="194">
                  <c:v>4.216876430000000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Piaci HUF lakáshitel</c:v>
                </c:pt>
              </c:strCache>
            </c:strRef>
          </c:tx>
          <c:spPr>
            <a:solidFill>
              <a:srgbClr val="9ED561"/>
            </a:solidFill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C$2:$C$196</c:f>
              <c:numCache>
                <c:formatCode>General</c:formatCode>
                <c:ptCount val="195"/>
                <c:pt idx="0">
                  <c:v>0.55371800000000004</c:v>
                </c:pt>
                <c:pt idx="1">
                  <c:v>0.75864800000000054</c:v>
                </c:pt>
                <c:pt idx="2">
                  <c:v>2.3655149999999998</c:v>
                </c:pt>
                <c:pt idx="3">
                  <c:v>3.5085410000000001</c:v>
                </c:pt>
                <c:pt idx="4">
                  <c:v>4.3497620000000028</c:v>
                </c:pt>
                <c:pt idx="5">
                  <c:v>4.5699109999999967</c:v>
                </c:pt>
                <c:pt idx="6">
                  <c:v>4.9854026200000003</c:v>
                </c:pt>
                <c:pt idx="7">
                  <c:v>5.9676638500000001</c:v>
                </c:pt>
                <c:pt idx="8">
                  <c:v>7.8933819399999967</c:v>
                </c:pt>
                <c:pt idx="9">
                  <c:v>5.199001</c:v>
                </c:pt>
                <c:pt idx="10">
                  <c:v>4.7212470000000026</c:v>
                </c:pt>
                <c:pt idx="11">
                  <c:v>5.4163290000000028</c:v>
                </c:pt>
                <c:pt idx="12">
                  <c:v>1.1230504029780581</c:v>
                </c:pt>
                <c:pt idx="13">
                  <c:v>1.5744037562939157</c:v>
                </c:pt>
                <c:pt idx="14">
                  <c:v>1.7666088537183862</c:v>
                </c:pt>
                <c:pt idx="15">
                  <c:v>2.1895693450721012</c:v>
                </c:pt>
                <c:pt idx="16">
                  <c:v>5.7621417363156846</c:v>
                </c:pt>
                <c:pt idx="17">
                  <c:v>9.0729336883267155</c:v>
                </c:pt>
                <c:pt idx="18">
                  <c:v>8.858929465993338</c:v>
                </c:pt>
                <c:pt idx="19">
                  <c:v>8.4028818701015666</c:v>
                </c:pt>
                <c:pt idx="20">
                  <c:v>8.1530738548197004</c:v>
                </c:pt>
                <c:pt idx="21">
                  <c:v>9.7405615478144334</c:v>
                </c:pt>
                <c:pt idx="22">
                  <c:v>6.8986236311356421</c:v>
                </c:pt>
                <c:pt idx="23">
                  <c:v>8.0421941131030668</c:v>
                </c:pt>
                <c:pt idx="24">
                  <c:v>3.0586420868000133</c:v>
                </c:pt>
                <c:pt idx="25">
                  <c:v>3.3387819558493312</c:v>
                </c:pt>
                <c:pt idx="26">
                  <c:v>4.3636405435415311</c:v>
                </c:pt>
                <c:pt idx="27">
                  <c:v>6.2465072371476253</c:v>
                </c:pt>
                <c:pt idx="28">
                  <c:v>9.2481365274997849</c:v>
                </c:pt>
                <c:pt idx="29">
                  <c:v>11.573607878891055</c:v>
                </c:pt>
                <c:pt idx="30">
                  <c:v>14.292115861758099</c:v>
                </c:pt>
                <c:pt idx="31">
                  <c:v>13.04332269502933</c:v>
                </c:pt>
                <c:pt idx="32">
                  <c:v>13.960315411400035</c:v>
                </c:pt>
                <c:pt idx="33">
                  <c:v>14.894430571760322</c:v>
                </c:pt>
                <c:pt idx="34">
                  <c:v>13.791495987450963</c:v>
                </c:pt>
                <c:pt idx="35">
                  <c:v>14.354260831121824</c:v>
                </c:pt>
                <c:pt idx="36">
                  <c:v>6.8575374178148145</c:v>
                </c:pt>
                <c:pt idx="37">
                  <c:v>7.3071401649985344</c:v>
                </c:pt>
                <c:pt idx="38">
                  <c:v>8.0721075421918833</c:v>
                </c:pt>
                <c:pt idx="39">
                  <c:v>9.786382344319275</c:v>
                </c:pt>
                <c:pt idx="40">
                  <c:v>10.957861887013694</c:v>
                </c:pt>
                <c:pt idx="41">
                  <c:v>12.100419615561796</c:v>
                </c:pt>
                <c:pt idx="42">
                  <c:v>13.100413250136103</c:v>
                </c:pt>
                <c:pt idx="43">
                  <c:v>11.116201515976382</c:v>
                </c:pt>
                <c:pt idx="44">
                  <c:v>12.224432848946774</c:v>
                </c:pt>
                <c:pt idx="45">
                  <c:v>10.623508187110007</c:v>
                </c:pt>
                <c:pt idx="46">
                  <c:v>9.2555648058964017</c:v>
                </c:pt>
                <c:pt idx="47">
                  <c:v>9.0678651534821384</c:v>
                </c:pt>
                <c:pt idx="48">
                  <c:v>10.674831116001057</c:v>
                </c:pt>
                <c:pt idx="49">
                  <c:v>11.730563967959892</c:v>
                </c:pt>
                <c:pt idx="50">
                  <c:v>9.0763481758505176</c:v>
                </c:pt>
                <c:pt idx="51">
                  <c:v>5.2829167347120016</c:v>
                </c:pt>
                <c:pt idx="52">
                  <c:v>4.2218123354885817</c:v>
                </c:pt>
                <c:pt idx="53">
                  <c:v>4.6557885915725752</c:v>
                </c:pt>
                <c:pt idx="54">
                  <c:v>3.8189462906452656</c:v>
                </c:pt>
                <c:pt idx="55">
                  <c:v>3.3968322014372161</c:v>
                </c:pt>
                <c:pt idx="56">
                  <c:v>4.5143378469386954</c:v>
                </c:pt>
                <c:pt idx="57">
                  <c:v>4.9349273119814887</c:v>
                </c:pt>
                <c:pt idx="58">
                  <c:v>4.1685489680709047</c:v>
                </c:pt>
                <c:pt idx="59">
                  <c:v>3.4074358595519616</c:v>
                </c:pt>
                <c:pt idx="60">
                  <c:v>2.2622758825134599</c:v>
                </c:pt>
                <c:pt idx="61">
                  <c:v>2.2873304816151174</c:v>
                </c:pt>
                <c:pt idx="62">
                  <c:v>2.6253584465649351</c:v>
                </c:pt>
                <c:pt idx="63">
                  <c:v>2.9296098808588407</c:v>
                </c:pt>
                <c:pt idx="64">
                  <c:v>2.9516457487492898</c:v>
                </c:pt>
                <c:pt idx="65">
                  <c:v>3.6165008876202518</c:v>
                </c:pt>
                <c:pt idx="66">
                  <c:v>3.062428533306766</c:v>
                </c:pt>
                <c:pt idx="67">
                  <c:v>3.2707608038844542</c:v>
                </c:pt>
                <c:pt idx="68">
                  <c:v>2.8241137237827516</c:v>
                </c:pt>
                <c:pt idx="69">
                  <c:v>2.7130776495415163</c:v>
                </c:pt>
                <c:pt idx="70">
                  <c:v>2.7468384541536537</c:v>
                </c:pt>
                <c:pt idx="71">
                  <c:v>2.5874822701358782</c:v>
                </c:pt>
                <c:pt idx="72">
                  <c:v>1.4216461452625795</c:v>
                </c:pt>
                <c:pt idx="73">
                  <c:v>1.39216174878611</c:v>
                </c:pt>
                <c:pt idx="74">
                  <c:v>1.573944845262099</c:v>
                </c:pt>
                <c:pt idx="75">
                  <c:v>1.5757850337434975</c:v>
                </c:pt>
                <c:pt idx="76">
                  <c:v>1.8148930620058419</c:v>
                </c:pt>
                <c:pt idx="77">
                  <c:v>2.2614928850497829</c:v>
                </c:pt>
                <c:pt idx="78">
                  <c:v>1.8058740363565489</c:v>
                </c:pt>
                <c:pt idx="79">
                  <c:v>2.3337825854679672</c:v>
                </c:pt>
                <c:pt idx="80">
                  <c:v>2.1102190532956682</c:v>
                </c:pt>
                <c:pt idx="81">
                  <c:v>1.91441263385033</c:v>
                </c:pt>
                <c:pt idx="82">
                  <c:v>2.5163040577373788</c:v>
                </c:pt>
                <c:pt idx="83">
                  <c:v>2.2522682775994576</c:v>
                </c:pt>
                <c:pt idx="84">
                  <c:v>1.7533648623660034</c:v>
                </c:pt>
                <c:pt idx="85">
                  <c:v>1.4405965727411938</c:v>
                </c:pt>
                <c:pt idx="86">
                  <c:v>1.5157265218223579</c:v>
                </c:pt>
                <c:pt idx="87">
                  <c:v>1.584473788284839</c:v>
                </c:pt>
                <c:pt idx="88">
                  <c:v>1.7908683748085765</c:v>
                </c:pt>
                <c:pt idx="89">
                  <c:v>1.67037366787902</c:v>
                </c:pt>
                <c:pt idx="90">
                  <c:v>2.0202433619831548</c:v>
                </c:pt>
                <c:pt idx="91">
                  <c:v>1.8814060384762641</c:v>
                </c:pt>
                <c:pt idx="92">
                  <c:v>1.5784362656967841</c:v>
                </c:pt>
                <c:pt idx="93">
                  <c:v>1.7056990955206732</c:v>
                </c:pt>
                <c:pt idx="94">
                  <c:v>1.6131385648928029</c:v>
                </c:pt>
                <c:pt idx="95">
                  <c:v>1.628131497128636</c:v>
                </c:pt>
                <c:pt idx="96">
                  <c:v>1.9698963611048128</c:v>
                </c:pt>
                <c:pt idx="97">
                  <c:v>1.4596515165495354</c:v>
                </c:pt>
                <c:pt idx="98">
                  <c:v>1.5921690094460821</c:v>
                </c:pt>
                <c:pt idx="99">
                  <c:v>2.2291003065820316</c:v>
                </c:pt>
                <c:pt idx="100">
                  <c:v>1.8137624373535854</c:v>
                </c:pt>
                <c:pt idx="101">
                  <c:v>2.0727463263810173</c:v>
                </c:pt>
                <c:pt idx="102">
                  <c:v>2.3232587254968626</c:v>
                </c:pt>
                <c:pt idx="103">
                  <c:v>1.7397612803597062</c:v>
                </c:pt>
                <c:pt idx="104">
                  <c:v>2.0035369783117987</c:v>
                </c:pt>
                <c:pt idx="105">
                  <c:v>2.2359115776467942</c:v>
                </c:pt>
                <c:pt idx="106">
                  <c:v>2.7071854728330691</c:v>
                </c:pt>
                <c:pt idx="107">
                  <c:v>2.361011391332275</c:v>
                </c:pt>
                <c:pt idx="108">
                  <c:v>1.8648255877236579</c:v>
                </c:pt>
                <c:pt idx="109">
                  <c:v>1.8490905429920477</c:v>
                </c:pt>
                <c:pt idx="110">
                  <c:v>2.1835581610337971</c:v>
                </c:pt>
                <c:pt idx="111">
                  <c:v>2.3319986108349888</c:v>
                </c:pt>
                <c:pt idx="112">
                  <c:v>2.5478844333996009</c:v>
                </c:pt>
                <c:pt idx="113">
                  <c:v>4.3908247191848897</c:v>
                </c:pt>
                <c:pt idx="114">
                  <c:v>17.775028999999993</c:v>
                </c:pt>
                <c:pt idx="115">
                  <c:v>9.8443819999999995</c:v>
                </c:pt>
                <c:pt idx="116">
                  <c:v>7.0151900000000005</c:v>
                </c:pt>
                <c:pt idx="117">
                  <c:v>5.0470380000000006</c:v>
                </c:pt>
                <c:pt idx="118">
                  <c:v>4.3292107599999969</c:v>
                </c:pt>
                <c:pt idx="119">
                  <c:v>4.8855530215940011</c:v>
                </c:pt>
                <c:pt idx="120">
                  <c:v>3.9512324284211342</c:v>
                </c:pt>
                <c:pt idx="121">
                  <c:v>5.5219175788343042</c:v>
                </c:pt>
                <c:pt idx="122">
                  <c:v>7.9882674013895896</c:v>
                </c:pt>
                <c:pt idx="123">
                  <c:v>12.21765851630802</c:v>
                </c:pt>
                <c:pt idx="124">
                  <c:v>13.1834291321404</c:v>
                </c:pt>
                <c:pt idx="125">
                  <c:v>18.658825997675695</c:v>
                </c:pt>
                <c:pt idx="126">
                  <c:v>16.811773471177364</c:v>
                </c:pt>
                <c:pt idx="127">
                  <c:v>17.877246791524321</c:v>
                </c:pt>
                <c:pt idx="128">
                  <c:v>17.65802657193656</c:v>
                </c:pt>
                <c:pt idx="129">
                  <c:v>15.601843565249442</c:v>
                </c:pt>
                <c:pt idx="130">
                  <c:v>16.455880043107829</c:v>
                </c:pt>
                <c:pt idx="131">
                  <c:v>16.35217254618334</c:v>
                </c:pt>
                <c:pt idx="132">
                  <c:v>11.06281175381676</c:v>
                </c:pt>
                <c:pt idx="133">
                  <c:v>11.944561200693951</c:v>
                </c:pt>
                <c:pt idx="134">
                  <c:v>15.487560979831347</c:v>
                </c:pt>
                <c:pt idx="135">
                  <c:v>14.684990345199401</c:v>
                </c:pt>
                <c:pt idx="136">
                  <c:v>17.734269023058697</c:v>
                </c:pt>
                <c:pt idx="137">
                  <c:v>19.316479813988927</c:v>
                </c:pt>
                <c:pt idx="138">
                  <c:v>17.592375678605929</c:v>
                </c:pt>
                <c:pt idx="139">
                  <c:v>18.862736441097134</c:v>
                </c:pt>
                <c:pt idx="140">
                  <c:v>16.877238867348911</c:v>
                </c:pt>
                <c:pt idx="141">
                  <c:v>15.544927565073781</c:v>
                </c:pt>
                <c:pt idx="142">
                  <c:v>21.993013887675673</c:v>
                </c:pt>
                <c:pt idx="143">
                  <c:v>39.484658381781422</c:v>
                </c:pt>
                <c:pt idx="144">
                  <c:v>58.719050791330005</c:v>
                </c:pt>
                <c:pt idx="145">
                  <c:v>35.564393343939287</c:v>
                </c:pt>
                <c:pt idx="146">
                  <c:v>11.358560789577394</c:v>
                </c:pt>
                <c:pt idx="147">
                  <c:v>9.5468143622059447</c:v>
                </c:pt>
                <c:pt idx="148">
                  <c:v>11.393599800456068</c:v>
                </c:pt>
                <c:pt idx="149">
                  <c:v>10.677706159001898</c:v>
                </c:pt>
                <c:pt idx="150">
                  <c:v>11.241983676050948</c:v>
                </c:pt>
                <c:pt idx="151">
                  <c:v>10.278730699769069</c:v>
                </c:pt>
                <c:pt idx="152">
                  <c:v>9.5867754902566436</c:v>
                </c:pt>
                <c:pt idx="153">
                  <c:v>9.0917776329139031</c:v>
                </c:pt>
                <c:pt idx="154">
                  <c:v>9.2695379632148942</c:v>
                </c:pt>
                <c:pt idx="155">
                  <c:v>8.2498967230756559</c:v>
                </c:pt>
                <c:pt idx="156">
                  <c:v>6.0913604038941171</c:v>
                </c:pt>
                <c:pt idx="157">
                  <c:v>5.6994265458469187</c:v>
                </c:pt>
                <c:pt idx="158">
                  <c:v>6.8336701917130318</c:v>
                </c:pt>
                <c:pt idx="159">
                  <c:v>7.7229970955495881</c:v>
                </c:pt>
                <c:pt idx="160">
                  <c:v>10.200653283272583</c:v>
                </c:pt>
                <c:pt idx="161">
                  <c:v>10.303210026664109</c:v>
                </c:pt>
                <c:pt idx="162">
                  <c:v>11.440367245885286</c:v>
                </c:pt>
                <c:pt idx="163">
                  <c:v>10.401572619259548</c:v>
                </c:pt>
                <c:pt idx="164">
                  <c:v>11.251839685344336</c:v>
                </c:pt>
                <c:pt idx="165">
                  <c:v>11.050944091233456</c:v>
                </c:pt>
                <c:pt idx="166">
                  <c:v>10.269627884883949</c:v>
                </c:pt>
                <c:pt idx="167">
                  <c:v>11.007410393708044</c:v>
                </c:pt>
                <c:pt idx="168">
                  <c:v>9.1048744765839107</c:v>
                </c:pt>
                <c:pt idx="169">
                  <c:v>8.7877998025031694</c:v>
                </c:pt>
                <c:pt idx="170">
                  <c:v>11.014870456697615</c:v>
                </c:pt>
                <c:pt idx="171">
                  <c:v>14.187042522966173</c:v>
                </c:pt>
                <c:pt idx="172">
                  <c:v>16.096004175990839</c:v>
                </c:pt>
                <c:pt idx="173">
                  <c:v>27.083400177307851</c:v>
                </c:pt>
                <c:pt idx="174">
                  <c:v>19.959402259765206</c:v>
                </c:pt>
                <c:pt idx="175">
                  <c:v>17.656642352865127</c:v>
                </c:pt>
                <c:pt idx="176">
                  <c:v>19.005312431624994</c:v>
                </c:pt>
                <c:pt idx="177">
                  <c:v>16.763004964898361</c:v>
                </c:pt>
                <c:pt idx="178">
                  <c:v>16.521149739277682</c:v>
                </c:pt>
                <c:pt idx="179">
                  <c:v>17.860569978641234</c:v>
                </c:pt>
                <c:pt idx="180">
                  <c:v>19.009492127985887</c:v>
                </c:pt>
                <c:pt idx="181">
                  <c:v>10.35194860909218</c:v>
                </c:pt>
                <c:pt idx="182">
                  <c:v>19.072784578265811</c:v>
                </c:pt>
                <c:pt idx="183">
                  <c:v>20.639190185001215</c:v>
                </c:pt>
                <c:pt idx="184">
                  <c:v>20.496962690913726</c:v>
                </c:pt>
                <c:pt idx="185">
                  <c:v>29.309520808741134</c:v>
                </c:pt>
                <c:pt idx="186">
                  <c:v>34.050702562536294</c:v>
                </c:pt>
                <c:pt idx="187">
                  <c:v>32.387239093449558</c:v>
                </c:pt>
                <c:pt idx="188">
                  <c:v>38.748217614359156</c:v>
                </c:pt>
                <c:pt idx="189">
                  <c:v>33.547246568020263</c:v>
                </c:pt>
                <c:pt idx="190">
                  <c:v>29.468025411561136</c:v>
                </c:pt>
                <c:pt idx="191">
                  <c:v>30.140103750073507</c:v>
                </c:pt>
                <c:pt idx="192">
                  <c:v>21.398923415069511</c:v>
                </c:pt>
                <c:pt idx="193">
                  <c:v>23.865443385487517</c:v>
                </c:pt>
                <c:pt idx="194">
                  <c:v>28.220634569999984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Deviza lakáshitel</c:v>
                </c:pt>
              </c:strCache>
            </c:strRef>
          </c:tx>
          <c:spPr>
            <a:solidFill>
              <a:srgbClr val="0070C0"/>
            </a:solidFill>
            <a:ln w="25400">
              <a:noFill/>
            </a:ln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D$2:$D$196</c:f>
              <c:numCache>
                <c:formatCode>General</c:formatCode>
                <c:ptCount val="1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1.267000000000001</c:v>
                </c:pt>
                <c:pt idx="61">
                  <c:v>11.728149999999999</c:v>
                </c:pt>
                <c:pt idx="62">
                  <c:v>18.09850999999998</c:v>
                </c:pt>
                <c:pt idx="63">
                  <c:v>22.593959999999999</c:v>
                </c:pt>
                <c:pt idx="64">
                  <c:v>26.1</c:v>
                </c:pt>
                <c:pt idx="65">
                  <c:v>31.737000000000005</c:v>
                </c:pt>
                <c:pt idx="66">
                  <c:v>28.013561000000013</c:v>
                </c:pt>
                <c:pt idx="67">
                  <c:v>32.907512000000011</c:v>
                </c:pt>
                <c:pt idx="68">
                  <c:v>31.239699999999988</c:v>
                </c:pt>
                <c:pt idx="69">
                  <c:v>29.798999999999989</c:v>
                </c:pt>
                <c:pt idx="70">
                  <c:v>35.77713500000003</c:v>
                </c:pt>
                <c:pt idx="71">
                  <c:v>30.100039000000002</c:v>
                </c:pt>
                <c:pt idx="72">
                  <c:v>23.887156999999988</c:v>
                </c:pt>
                <c:pt idx="73">
                  <c:v>22.757404000000001</c:v>
                </c:pt>
                <c:pt idx="74">
                  <c:v>31.543948</c:v>
                </c:pt>
                <c:pt idx="75">
                  <c:v>36.746130000000022</c:v>
                </c:pt>
                <c:pt idx="76">
                  <c:v>46.883430000000004</c:v>
                </c:pt>
                <c:pt idx="77">
                  <c:v>46.915204000000003</c:v>
                </c:pt>
                <c:pt idx="78">
                  <c:v>45.926113000000022</c:v>
                </c:pt>
                <c:pt idx="79">
                  <c:v>53.656403000000005</c:v>
                </c:pt>
                <c:pt idx="80">
                  <c:v>46.957292999999993</c:v>
                </c:pt>
                <c:pt idx="81">
                  <c:v>50.409766999999995</c:v>
                </c:pt>
                <c:pt idx="82">
                  <c:v>55.157194000000004</c:v>
                </c:pt>
                <c:pt idx="83">
                  <c:v>54.436273</c:v>
                </c:pt>
                <c:pt idx="84">
                  <c:v>42.277878000000001</c:v>
                </c:pt>
                <c:pt idx="85">
                  <c:v>39.426836000000002</c:v>
                </c:pt>
                <c:pt idx="86">
                  <c:v>42.766168000000022</c:v>
                </c:pt>
                <c:pt idx="87">
                  <c:v>47.957200999999998</c:v>
                </c:pt>
                <c:pt idx="88">
                  <c:v>56.065695000000012</c:v>
                </c:pt>
                <c:pt idx="89">
                  <c:v>58.250050000000002</c:v>
                </c:pt>
                <c:pt idx="90">
                  <c:v>61.693512000000048</c:v>
                </c:pt>
                <c:pt idx="91">
                  <c:v>60.134994000000006</c:v>
                </c:pt>
                <c:pt idx="92">
                  <c:v>53.243219127000003</c:v>
                </c:pt>
                <c:pt idx="93">
                  <c:v>66.034300928421018</c:v>
                </c:pt>
                <c:pt idx="94">
                  <c:v>69.469789340000005</c:v>
                </c:pt>
                <c:pt idx="95">
                  <c:v>65.796652962499948</c:v>
                </c:pt>
                <c:pt idx="96">
                  <c:v>57.724458173750001</c:v>
                </c:pt>
                <c:pt idx="97">
                  <c:v>54.035248005</c:v>
                </c:pt>
                <c:pt idx="98">
                  <c:v>59.703141860000002</c:v>
                </c:pt>
                <c:pt idx="99">
                  <c:v>77.380382767499924</c:v>
                </c:pt>
                <c:pt idx="100">
                  <c:v>64.433609596249994</c:v>
                </c:pt>
                <c:pt idx="101">
                  <c:v>69.609924387500001</c:v>
                </c:pt>
                <c:pt idx="102">
                  <c:v>75.804481749999979</c:v>
                </c:pt>
                <c:pt idx="103">
                  <c:v>64.345790053999934</c:v>
                </c:pt>
                <c:pt idx="104">
                  <c:v>73.607635137999935</c:v>
                </c:pt>
                <c:pt idx="105">
                  <c:v>79.805058363999933</c:v>
                </c:pt>
                <c:pt idx="106">
                  <c:v>54.030434</c:v>
                </c:pt>
                <c:pt idx="107">
                  <c:v>43.044151000000006</c:v>
                </c:pt>
                <c:pt idx="108">
                  <c:v>28.441245999999989</c:v>
                </c:pt>
                <c:pt idx="109">
                  <c:v>21.412925000000001</c:v>
                </c:pt>
                <c:pt idx="110">
                  <c:v>21.032881000000014</c:v>
                </c:pt>
                <c:pt idx="111">
                  <c:v>16.337783000000005</c:v>
                </c:pt>
                <c:pt idx="112">
                  <c:v>16.556962000000009</c:v>
                </c:pt>
                <c:pt idx="113">
                  <c:v>19.025032999999983</c:v>
                </c:pt>
                <c:pt idx="114">
                  <c:v>19.572611999999989</c:v>
                </c:pt>
                <c:pt idx="115">
                  <c:v>15.638723999999998</c:v>
                </c:pt>
                <c:pt idx="116">
                  <c:v>16.984444999999983</c:v>
                </c:pt>
                <c:pt idx="117">
                  <c:v>15.793779000000001</c:v>
                </c:pt>
                <c:pt idx="118">
                  <c:v>15.658799</c:v>
                </c:pt>
                <c:pt idx="119">
                  <c:v>14.026049</c:v>
                </c:pt>
                <c:pt idx="120">
                  <c:v>10.127686000000002</c:v>
                </c:pt>
                <c:pt idx="121">
                  <c:v>13.743230000000001</c:v>
                </c:pt>
                <c:pt idx="122">
                  <c:v>13.446609</c:v>
                </c:pt>
                <c:pt idx="123">
                  <c:v>6.0306949999999997</c:v>
                </c:pt>
                <c:pt idx="124">
                  <c:v>4.1557490000000001</c:v>
                </c:pt>
                <c:pt idx="125">
                  <c:v>4.811121</c:v>
                </c:pt>
                <c:pt idx="126">
                  <c:v>1.618066</c:v>
                </c:pt>
                <c:pt idx="127">
                  <c:v>0.8997490000000008</c:v>
                </c:pt>
                <c:pt idx="128">
                  <c:v>0.46779600000000005</c:v>
                </c:pt>
                <c:pt idx="129">
                  <c:v>0.264679</c:v>
                </c:pt>
                <c:pt idx="130">
                  <c:v>0.92141699999999938</c:v>
                </c:pt>
                <c:pt idx="131">
                  <c:v>0.30195100000000008</c:v>
                </c:pt>
                <c:pt idx="132">
                  <c:v>0.24302100000000001</c:v>
                </c:pt>
                <c:pt idx="133">
                  <c:v>0.46258000000000021</c:v>
                </c:pt>
                <c:pt idx="134">
                  <c:v>0.68132600000000032</c:v>
                </c:pt>
                <c:pt idx="135">
                  <c:v>0.67593000000000036</c:v>
                </c:pt>
                <c:pt idx="136">
                  <c:v>7.9700000000000062E-2</c:v>
                </c:pt>
                <c:pt idx="137">
                  <c:v>0.40998700000000027</c:v>
                </c:pt>
                <c:pt idx="138">
                  <c:v>0.4290150000000002</c:v>
                </c:pt>
                <c:pt idx="139">
                  <c:v>0.86092500000000061</c:v>
                </c:pt>
                <c:pt idx="140">
                  <c:v>0.47756700000000002</c:v>
                </c:pt>
                <c:pt idx="141">
                  <c:v>0.18335899999999999</c:v>
                </c:pt>
                <c:pt idx="142">
                  <c:v>0.21980400000000008</c:v>
                </c:pt>
                <c:pt idx="143">
                  <c:v>0.39595100000000016</c:v>
                </c:pt>
                <c:pt idx="144">
                  <c:v>5.3999000000000026E-2</c:v>
                </c:pt>
                <c:pt idx="145">
                  <c:v>2.9627000000000014E-2</c:v>
                </c:pt>
                <c:pt idx="146">
                  <c:v>5.2560000000000029E-3</c:v>
                </c:pt>
                <c:pt idx="147">
                  <c:v>0</c:v>
                </c:pt>
                <c:pt idx="148">
                  <c:v>0</c:v>
                </c:pt>
                <c:pt idx="149">
                  <c:v>4.9737000000000052E-2</c:v>
                </c:pt>
                <c:pt idx="150">
                  <c:v>0.13852</c:v>
                </c:pt>
                <c:pt idx="151">
                  <c:v>0</c:v>
                </c:pt>
                <c:pt idx="152">
                  <c:v>0</c:v>
                </c:pt>
                <c:pt idx="153">
                  <c:v>2.6132000000000013E-2</c:v>
                </c:pt>
                <c:pt idx="154">
                  <c:v>4.0265000000000002E-2</c:v>
                </c:pt>
                <c:pt idx="155">
                  <c:v>0.18082799999999999</c:v>
                </c:pt>
                <c:pt idx="156">
                  <c:v>3.4995999999999999E-2</c:v>
                </c:pt>
                <c:pt idx="157">
                  <c:v>0</c:v>
                </c:pt>
                <c:pt idx="158">
                  <c:v>0</c:v>
                </c:pt>
                <c:pt idx="159">
                  <c:v>6.9938000000000042E-2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4.5403000000000027E-2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876992"/>
        <c:axId val="311087104"/>
      </c:areaChart>
      <c:dateAx>
        <c:axId val="309876992"/>
        <c:scaling>
          <c:orientation val="minMax"/>
          <c:max val="42430"/>
          <c:min val="36526"/>
        </c:scaling>
        <c:delete val="0"/>
        <c:axPos val="b"/>
        <c:numFmt formatCode="[$-40E]yyyy/\ mmm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alibri Light" panose="020F0302020204030204" pitchFamily="34" charset="0"/>
              </a:defRPr>
            </a:pPr>
            <a:endParaRPr lang="hu-HU"/>
          </a:p>
        </c:txPr>
        <c:crossAx val="311087104"/>
        <c:crosses val="autoZero"/>
        <c:auto val="1"/>
        <c:lblOffset val="100"/>
        <c:baseTimeUnit val="months"/>
      </c:dateAx>
      <c:valAx>
        <c:axId val="311087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 Light" panose="020F0302020204030204" pitchFamily="34" charset="0"/>
                <a:cs typeface="Aharoni" panose="02010803020104030203" pitchFamily="2" charset="-79"/>
              </a:defRPr>
            </a:pPr>
            <a:endParaRPr lang="hu-HU"/>
          </a:p>
        </c:txPr>
        <c:crossAx val="30987699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69305471195266488"/>
          <c:y val="1.1175025726102399E-2"/>
          <c:w val="0.29410530323108536"/>
          <c:h val="0.29495713535335638"/>
        </c:manualLayout>
      </c:layout>
      <c:overlay val="0"/>
      <c:txPr>
        <a:bodyPr/>
        <a:lstStyle/>
        <a:p>
          <a:pPr>
            <a:defRPr sz="1600">
              <a:latin typeface="Calibri Light" panose="020F0302020204030204" pitchFamily="34" charset="0"/>
            </a:defRPr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477804826558918E-2"/>
          <c:y val="0.24294458950170275"/>
          <c:w val="0.46284417687639234"/>
          <c:h val="0.51704426218491273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Oszlop1</c:v>
                </c:pt>
              </c:strCache>
            </c:strRef>
          </c:tx>
          <c:spPr>
            <a:solidFill>
              <a:srgbClr val="86DF49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FF00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4.3311553241400284E-2"/>
                  <c:y val="8.96029196707124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0281172818090956E-2"/>
                  <c:y val="1.02635396966949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079997228522907E-2"/>
                  <c:y val="-0.258389024937069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5686633457563642E-3"/>
                  <c:y val="1.39165088366543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3</c:f>
              <c:strCache>
                <c:ptCount val="2"/>
                <c:pt idx="0">
                  <c:v>Min. 3 gyerek</c:v>
                </c:pt>
                <c:pt idx="1">
                  <c:v>Max. 2 gyerek</c:v>
                </c:pt>
              </c:strCache>
            </c:strRef>
          </c:cat>
          <c:val>
            <c:numRef>
              <c:f>Munka1!$B$2:$B$3</c:f>
              <c:numCache>
                <c:formatCode>0%</c:formatCode>
                <c:ptCount val="2"/>
                <c:pt idx="0">
                  <c:v>0.1838074398249453</c:v>
                </c:pt>
                <c:pt idx="1">
                  <c:v>0.81619256017505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5070477739870172"/>
          <c:y val="0.28702907755540263"/>
          <c:w val="0.44008839838409924"/>
          <c:h val="0.34976307772609039"/>
        </c:manualLayout>
      </c:layout>
      <c:overlay val="0"/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416329135520077E-2"/>
          <c:y val="0.19582001795739681"/>
          <c:w val="0.48159283633583366"/>
          <c:h val="0.6513412765348322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Oszlop1</c:v>
                </c:pt>
              </c:strCache>
            </c:strRef>
          </c:tx>
          <c:spPr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FF00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86DF49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8.1704521758911144E-2"/>
                  <c:y val="-8.52891325795853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0.135929439092237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079997228522907E-2"/>
                  <c:y val="-0.258389024937069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5686633457563642E-3"/>
                  <c:y val="1.39165088366543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3</c:f>
              <c:strCache>
                <c:ptCount val="2"/>
                <c:pt idx="0">
                  <c:v>Min. 3 gyerek</c:v>
                </c:pt>
                <c:pt idx="1">
                  <c:v>Max. 2 gyerek</c:v>
                </c:pt>
              </c:strCache>
            </c:strRef>
          </c:cat>
          <c:val>
            <c:numRef>
              <c:f>Munka1!$B$2:$B$3</c:f>
              <c:numCache>
                <c:formatCode>0%</c:formatCode>
                <c:ptCount val="2"/>
                <c:pt idx="0">
                  <c:v>0.37068965517241381</c:v>
                </c:pt>
                <c:pt idx="1">
                  <c:v>0.629310344827586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16605255236981E-2"/>
          <c:y val="6.6793655893619741E-2"/>
          <c:w val="0.51489061961816762"/>
          <c:h val="0.7697842139385976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40-60 nm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B$2:$B$3</c:f>
              <c:numCache>
                <c:formatCode>0%</c:formatCode>
                <c:ptCount val="2"/>
                <c:pt idx="0">
                  <c:v>1.5317286652078774E-2</c:v>
                </c:pt>
                <c:pt idx="1">
                  <c:v>0.175141242937853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60-75 nm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C$2:$C$3</c:f>
              <c:numCache>
                <c:formatCode>0%</c:formatCode>
                <c:ptCount val="2"/>
                <c:pt idx="0">
                  <c:v>9.4091903719912467E-2</c:v>
                </c:pt>
                <c:pt idx="1">
                  <c:v>0.25169491525423726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75-90 n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D$2:$D$3</c:f>
              <c:numCache>
                <c:formatCode>0%</c:formatCode>
                <c:ptCount val="2"/>
                <c:pt idx="0">
                  <c:v>0.19474835886214442</c:v>
                </c:pt>
                <c:pt idx="1">
                  <c:v>0.23192090395480225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90+ nm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E$2:$E$3</c:f>
              <c:numCache>
                <c:formatCode>0%</c:formatCode>
                <c:ptCount val="2"/>
                <c:pt idx="0">
                  <c:v>0.69584245076586437</c:v>
                </c:pt>
                <c:pt idx="1">
                  <c:v>0.341242937853107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7069056"/>
        <c:axId val="217070592"/>
      </c:barChart>
      <c:catAx>
        <c:axId val="217069056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hu-HU"/>
          </a:p>
        </c:txPr>
        <c:crossAx val="217070592"/>
        <c:crosses val="autoZero"/>
        <c:auto val="1"/>
        <c:lblAlgn val="ctr"/>
        <c:lblOffset val="100"/>
        <c:noMultiLvlLbl val="0"/>
      </c:catAx>
      <c:valAx>
        <c:axId val="21707059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2170690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7012401465599538"/>
          <c:y val="7.410701137356826E-2"/>
          <c:w val="0.36622508130822723"/>
          <c:h val="0.79106447189502738"/>
        </c:manualLayout>
      </c:layout>
      <c:overlay val="0"/>
      <c:txPr>
        <a:bodyPr/>
        <a:lstStyle/>
        <a:p>
          <a:pPr>
            <a:defRPr sz="1400" b="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477804826558918E-2"/>
          <c:y val="0.24294458950170275"/>
          <c:w val="0.46284417687639234"/>
          <c:h val="0.51704426218491273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Oszlop1</c:v>
                </c:pt>
              </c:strCache>
            </c:strRef>
          </c:tx>
          <c:spPr>
            <a:solidFill>
              <a:srgbClr val="86DF49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FF00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5.7373146711506312E-2"/>
                  <c:y val="-6.43448160136616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8.8804726818908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079997228522907E-2"/>
                  <c:y val="-0.258389024937069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5686633457563642E-3"/>
                  <c:y val="1.39165088366543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3</c:f>
              <c:strCache>
                <c:ptCount val="2"/>
                <c:pt idx="0">
                  <c:v>Csak CSOK</c:v>
                </c:pt>
                <c:pt idx="1">
                  <c:v>CSOK és hitel is</c:v>
                </c:pt>
              </c:strCache>
            </c:strRef>
          </c:cat>
          <c:val>
            <c:numRef>
              <c:f>Munka1!$B$2:$B$3</c:f>
              <c:numCache>
                <c:formatCode>0%</c:formatCode>
                <c:ptCount val="2"/>
                <c:pt idx="0">
                  <c:v>0.34858967535923402</c:v>
                </c:pt>
                <c:pt idx="1">
                  <c:v>0.651410324640766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5070477739870172"/>
          <c:y val="0.28702907755540263"/>
          <c:w val="0.44008839838409924"/>
          <c:h val="0.34976307772609039"/>
        </c:manualLayout>
      </c:layout>
      <c:overlay val="0"/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416329135520077E-2"/>
          <c:y val="0.19582001795739681"/>
          <c:w val="0.48159283633583366"/>
          <c:h val="0.6513412765348322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Oszlop1</c:v>
                </c:pt>
              </c:strCache>
            </c:strRef>
          </c:tx>
          <c:spPr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FF00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86DF49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6.6657793968039322E-2"/>
                  <c:y val="-0.132413844852913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0.188290230507046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079997228522907E-2"/>
                  <c:y val="-0.258389024937069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5686633457563642E-3"/>
                  <c:y val="1.39165088366543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3</c:f>
              <c:strCache>
                <c:ptCount val="2"/>
                <c:pt idx="0">
                  <c:v>Építés</c:v>
                </c:pt>
                <c:pt idx="1">
                  <c:v>Új lakás vásárlás</c:v>
                </c:pt>
              </c:strCache>
            </c:strRef>
          </c:cat>
          <c:val>
            <c:numRef>
              <c:f>Munka1!$B$2:$B$3</c:f>
              <c:numCache>
                <c:formatCode>0%</c:formatCode>
                <c:ptCount val="2"/>
                <c:pt idx="0">
                  <c:v>0.44465141032464095</c:v>
                </c:pt>
                <c:pt idx="1">
                  <c:v>0.555348589675359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16605255236981E-2"/>
          <c:y val="6.6793655893619741E-2"/>
          <c:w val="0.51489061961816762"/>
          <c:h val="0.7697842139385976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40-60 nm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</c:spPr>
          <c:invertIfNegative val="0"/>
          <c:dLbls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B$2:$B$3</c:f>
              <c:numCache>
                <c:formatCode>0%</c:formatCode>
                <c:ptCount val="2"/>
                <c:pt idx="0">
                  <c:v>4.3103448275862072E-2</c:v>
                </c:pt>
                <c:pt idx="1">
                  <c:v>0.18635170603674542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60-75 nm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C$2:$C$3</c:f>
              <c:numCache>
                <c:formatCode>0%</c:formatCode>
                <c:ptCount val="2"/>
                <c:pt idx="0">
                  <c:v>0.12931034482758622</c:v>
                </c:pt>
                <c:pt idx="1">
                  <c:v>0.24409448818897639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75-90 n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D$2:$D$3</c:f>
              <c:numCache>
                <c:formatCode>0%</c:formatCode>
                <c:ptCount val="2"/>
                <c:pt idx="0">
                  <c:v>0.2413793103448276</c:v>
                </c:pt>
                <c:pt idx="1">
                  <c:v>0.22659667541557305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90+ nm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3</c:f>
              <c:strCache>
                <c:ptCount val="2"/>
                <c:pt idx="0">
                  <c:v>Új építésű</c:v>
                </c:pt>
                <c:pt idx="1">
                  <c:v>Használt lakás</c:v>
                </c:pt>
              </c:strCache>
            </c:strRef>
          </c:cat>
          <c:val>
            <c:numRef>
              <c:f>Munka1!$E$2:$E$3</c:f>
              <c:numCache>
                <c:formatCode>0%</c:formatCode>
                <c:ptCount val="2"/>
                <c:pt idx="0">
                  <c:v>0.58620689655172409</c:v>
                </c:pt>
                <c:pt idx="1">
                  <c:v>0.342957130358705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7387392"/>
        <c:axId val="217388928"/>
      </c:barChart>
      <c:catAx>
        <c:axId val="21738739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hu-HU"/>
          </a:p>
        </c:txPr>
        <c:crossAx val="217388928"/>
        <c:crosses val="autoZero"/>
        <c:auto val="1"/>
        <c:lblAlgn val="ctr"/>
        <c:lblOffset val="100"/>
        <c:noMultiLvlLbl val="0"/>
      </c:catAx>
      <c:valAx>
        <c:axId val="21738892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217387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Gyermekszám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Munka1!$A$2:$A$10</c:f>
              <c:strCache>
                <c:ptCount val="9"/>
                <c:pt idx="0">
                  <c:v>1988.12.26</c:v>
                </c:pt>
                <c:pt idx="1">
                  <c:v>1994.01.01</c:v>
                </c:pt>
                <c:pt idx="2">
                  <c:v>1994.11.07</c:v>
                </c:pt>
                <c:pt idx="3">
                  <c:v>2002.12.01</c:v>
                </c:pt>
                <c:pt idx="4">
                  <c:v>2004.04.01</c:v>
                </c:pt>
                <c:pt idx="5">
                  <c:v>2005.02.01</c:v>
                </c:pt>
                <c:pt idx="6">
                  <c:v>2015.07.01. CSOK átlag</c:v>
                </c:pt>
                <c:pt idx="7">
                  <c:v>2016.01.01 CSOK átlag</c:v>
                </c:pt>
                <c:pt idx="8">
                  <c:v>2016.01.01 CSOK MAX 3 gyerek</c:v>
                </c:pt>
              </c:strCache>
            </c:strRef>
          </c:cat>
          <c:val>
            <c:numRef>
              <c:f>Munka1!$B$2:$B$10</c:f>
              <c:numCache>
                <c:formatCode>#,##0</c:formatCode>
                <c:ptCount val="9"/>
                <c:pt idx="0">
                  <c:v>200000</c:v>
                </c:pt>
                <c:pt idx="1">
                  <c:v>300000</c:v>
                </c:pt>
                <c:pt idx="2">
                  <c:v>1200000</c:v>
                </c:pt>
                <c:pt idx="3">
                  <c:v>1600000</c:v>
                </c:pt>
                <c:pt idx="4">
                  <c:v>2000000</c:v>
                </c:pt>
                <c:pt idx="5">
                  <c:v>2400000</c:v>
                </c:pt>
                <c:pt idx="6">
                  <c:v>1000000</c:v>
                </c:pt>
                <c:pt idx="7">
                  <c:v>1500000</c:v>
                </c:pt>
                <c:pt idx="8">
                  <c:v>100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7541632"/>
        <c:axId val="217551616"/>
      </c:barChart>
      <c:catAx>
        <c:axId val="2175416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217551616"/>
        <c:crosses val="autoZero"/>
        <c:auto val="1"/>
        <c:lblAlgn val="ctr"/>
        <c:lblOffset val="100"/>
        <c:noMultiLvlLbl val="0"/>
      </c:catAx>
      <c:valAx>
        <c:axId val="217551616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crossAx val="217541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Calibri Light" panose="020F0302020204030204" pitchFamily="34" charset="0"/>
        </a:defRPr>
      </a:pPr>
      <a:endParaRPr lang="hu-H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Gyermekszám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Munka1!$A$2:$A$10</c:f>
              <c:strCache>
                <c:ptCount val="9"/>
                <c:pt idx="0">
                  <c:v>1988.12.26</c:v>
                </c:pt>
                <c:pt idx="1">
                  <c:v>1994.01.01</c:v>
                </c:pt>
                <c:pt idx="2">
                  <c:v>1994.11.07</c:v>
                </c:pt>
                <c:pt idx="3">
                  <c:v>2002.12.01</c:v>
                </c:pt>
                <c:pt idx="4">
                  <c:v>2004.04.01</c:v>
                </c:pt>
                <c:pt idx="5">
                  <c:v>2005.02.01</c:v>
                </c:pt>
                <c:pt idx="6">
                  <c:v>2015.07.01. CSOK átlag</c:v>
                </c:pt>
                <c:pt idx="7">
                  <c:v>2016.01.01 CSOK átlag</c:v>
                </c:pt>
                <c:pt idx="8">
                  <c:v>2016.01.01 CSOK MAX 3 gyerek</c:v>
                </c:pt>
              </c:strCache>
            </c:strRef>
          </c:cat>
          <c:val>
            <c:numRef>
              <c:f>Munka1!$B$2:$B$10</c:f>
              <c:numCache>
                <c:formatCode>#,##0</c:formatCode>
                <c:ptCount val="9"/>
                <c:pt idx="0">
                  <c:v>3642710.0000000005</c:v>
                </c:pt>
                <c:pt idx="1">
                  <c:v>1170000</c:v>
                </c:pt>
                <c:pt idx="2">
                  <c:v>4680000</c:v>
                </c:pt>
                <c:pt idx="3">
                  <c:v>2567979.1999999997</c:v>
                </c:pt>
                <c:pt idx="4">
                  <c:v>3005618</c:v>
                </c:pt>
                <c:pt idx="5">
                  <c:v>3481396.8000000003</c:v>
                </c:pt>
                <c:pt idx="6">
                  <c:v>1000000</c:v>
                </c:pt>
                <c:pt idx="7">
                  <c:v>1500000</c:v>
                </c:pt>
                <c:pt idx="8">
                  <c:v>100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7567232"/>
        <c:axId val="217568768"/>
      </c:barChart>
      <c:catAx>
        <c:axId val="2175672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217568768"/>
        <c:crosses val="autoZero"/>
        <c:auto val="1"/>
        <c:lblAlgn val="ctr"/>
        <c:lblOffset val="100"/>
        <c:noMultiLvlLbl val="0"/>
      </c:catAx>
      <c:valAx>
        <c:axId val="217568768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crossAx val="217567232"/>
        <c:crosses val="autoZero"/>
        <c:crossBetween val="between"/>
      </c:valAx>
      <c:spPr>
        <a:solidFill>
          <a:schemeClr val="bg1"/>
        </a:solidFill>
      </c:spPr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800">
          <a:latin typeface="Calibri Light" panose="020F0302020204030204" pitchFamily="34" charset="0"/>
        </a:defRPr>
      </a:pPr>
      <a:endParaRPr lang="hu-H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07527178841538E-2"/>
          <c:y val="0.12345336819501029"/>
          <c:w val="0.90592557617054936"/>
          <c:h val="0.6223463755168755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Piaci lakáshitel</c:v>
                </c:pt>
              </c:strCache>
            </c:strRef>
          </c:tx>
          <c:spPr>
            <a:solidFill>
              <a:srgbClr val="86DF49"/>
            </a:solidFill>
            <a:ln w="57150">
              <a:solidFill>
                <a:srgbClr val="86DF49"/>
              </a:solidFill>
            </a:ln>
          </c:spPr>
          <c:invertIfNegative val="0"/>
          <c:cat>
            <c:numRef>
              <c:f>Munka1!$A$2:$A$16</c:f>
              <c:numCache>
                <c:formatCode>[$-40E]yyyy/\ mmm</c:formatCode>
                <c:ptCount val="15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</c:numCache>
            </c:numRef>
          </c:cat>
          <c:val>
            <c:numRef>
              <c:f>Munka1!$B$2:$B$16</c:f>
              <c:numCache>
                <c:formatCode>0.0%</c:formatCode>
                <c:ptCount val="15"/>
                <c:pt idx="0">
                  <c:v>0.85320053126890194</c:v>
                </c:pt>
                <c:pt idx="1">
                  <c:v>0.85432707083053416</c:v>
                </c:pt>
                <c:pt idx="2">
                  <c:v>0.85458002933581201</c:v>
                </c:pt>
                <c:pt idx="3">
                  <c:v>0.85461915491996976</c:v>
                </c:pt>
                <c:pt idx="4">
                  <c:v>0.85990491444351036</c:v>
                </c:pt>
                <c:pt idx="5">
                  <c:v>0.86861511321775986</c:v>
                </c:pt>
                <c:pt idx="6">
                  <c:v>0.89548514286773051</c:v>
                </c:pt>
                <c:pt idx="7">
                  <c:v>0.8913493213250705</c:v>
                </c:pt>
                <c:pt idx="8">
                  <c:v>0.89181988659163736</c:v>
                </c:pt>
                <c:pt idx="9">
                  <c:v>0.88747099128514717</c:v>
                </c:pt>
                <c:pt idx="10">
                  <c:v>0.87720995474552987</c:v>
                </c:pt>
                <c:pt idx="11">
                  <c:v>0.87374593683660495</c:v>
                </c:pt>
                <c:pt idx="12">
                  <c:v>0.86850820022854724</c:v>
                </c:pt>
                <c:pt idx="13">
                  <c:v>0.86694642568561886</c:v>
                </c:pt>
                <c:pt idx="14">
                  <c:v>0.88495575221238942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Támogatott lakáshitel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57150">
              <a:solidFill>
                <a:schemeClr val="accent3">
                  <a:lumMod val="60000"/>
                  <a:lumOff val="40000"/>
                </a:schemeClr>
              </a:solidFill>
            </a:ln>
          </c:spPr>
          <c:invertIfNegative val="0"/>
          <c:cat>
            <c:numRef>
              <c:f>Munka1!$A$2:$A$16</c:f>
              <c:numCache>
                <c:formatCode>[$-40E]yyyy/\ mmm</c:formatCode>
                <c:ptCount val="15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</c:numCache>
            </c:numRef>
          </c:cat>
          <c:val>
            <c:numRef>
              <c:f>Munka1!$C$2:$C$16</c:f>
              <c:numCache>
                <c:formatCode>0.0%</c:formatCode>
                <c:ptCount val="15"/>
                <c:pt idx="0">
                  <c:v>0.14679946873109809</c:v>
                </c:pt>
                <c:pt idx="1">
                  <c:v>0.14567292916946581</c:v>
                </c:pt>
                <c:pt idx="2">
                  <c:v>0.14541997066418808</c:v>
                </c:pt>
                <c:pt idx="3">
                  <c:v>0.14538084508003021</c:v>
                </c:pt>
                <c:pt idx="4">
                  <c:v>0.14009508555648964</c:v>
                </c:pt>
                <c:pt idx="5">
                  <c:v>0.13138488678224017</c:v>
                </c:pt>
                <c:pt idx="6">
                  <c:v>0.10451485713226948</c:v>
                </c:pt>
                <c:pt idx="7">
                  <c:v>0.1086506786749296</c:v>
                </c:pt>
                <c:pt idx="8">
                  <c:v>0.1081801134083626</c:v>
                </c:pt>
                <c:pt idx="9">
                  <c:v>0.11252900871485279</c:v>
                </c:pt>
                <c:pt idx="10">
                  <c:v>0.12279004525447008</c:v>
                </c:pt>
                <c:pt idx="11">
                  <c:v>0.12625406316339507</c:v>
                </c:pt>
                <c:pt idx="12">
                  <c:v>0.13149179977145284</c:v>
                </c:pt>
                <c:pt idx="13">
                  <c:v>0.13305357431438122</c:v>
                </c:pt>
                <c:pt idx="14">
                  <c:v>0.115044247787610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17570688"/>
        <c:axId val="217701376"/>
      </c:barChart>
      <c:dateAx>
        <c:axId val="217570688"/>
        <c:scaling>
          <c:orientation val="minMax"/>
        </c:scaling>
        <c:delete val="0"/>
        <c:axPos val="b"/>
        <c:numFmt formatCode="[$-40E]yyyy/\ mmm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800"/>
            </a:pPr>
            <a:endParaRPr lang="hu-HU"/>
          </a:p>
        </c:txPr>
        <c:crossAx val="217701376"/>
        <c:crosses val="autoZero"/>
        <c:auto val="1"/>
        <c:lblOffset val="100"/>
        <c:baseTimeUnit val="months"/>
      </c:dateAx>
      <c:valAx>
        <c:axId val="217701376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2175706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3056424404885689"/>
          <c:y val="1.523365744749822E-2"/>
          <c:w val="0.61364098196116856"/>
          <c:h val="9.54578106237815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07527178841538E-2"/>
          <c:y val="0.12345336819501029"/>
          <c:w val="0.90592557617054936"/>
          <c:h val="0.6223463755168755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FIX kamat</c:v>
                </c:pt>
              </c:strCache>
            </c:strRef>
          </c:tx>
          <c:spPr>
            <a:solidFill>
              <a:srgbClr val="86DF49"/>
            </a:solidFill>
            <a:ln w="57150">
              <a:solidFill>
                <a:srgbClr val="86DF49"/>
              </a:solidFill>
            </a:ln>
          </c:spPr>
          <c:invertIfNegative val="0"/>
          <c:cat>
            <c:numRef>
              <c:f>Munka1!$A$2:$A$16</c:f>
              <c:numCache>
                <c:formatCode>[$-40E]yyyy/\ mmm</c:formatCode>
                <c:ptCount val="15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</c:numCache>
            </c:numRef>
          </c:cat>
          <c:val>
            <c:numRef>
              <c:f>Munka1!$B$2:$B$16</c:f>
              <c:numCache>
                <c:formatCode>0.0%</c:formatCode>
                <c:ptCount val="15"/>
                <c:pt idx="0">
                  <c:v>0.51679504500892848</c:v>
                </c:pt>
                <c:pt idx="1">
                  <c:v>0.54211324920260473</c:v>
                </c:pt>
                <c:pt idx="2">
                  <c:v>0.56472851195289264</c:v>
                </c:pt>
                <c:pt idx="3">
                  <c:v>0.53436282393653811</c:v>
                </c:pt>
                <c:pt idx="4">
                  <c:v>0.483915107317204</c:v>
                </c:pt>
                <c:pt idx="5">
                  <c:v>0.49805670740655683</c:v>
                </c:pt>
                <c:pt idx="6">
                  <c:v>0.4612339834236866</c:v>
                </c:pt>
                <c:pt idx="7">
                  <c:v>0.49277517393685238</c:v>
                </c:pt>
                <c:pt idx="8">
                  <c:v>0.48598864195538477</c:v>
                </c:pt>
                <c:pt idx="9">
                  <c:v>0.50898040086798468</c:v>
                </c:pt>
                <c:pt idx="10">
                  <c:v>0.54601981097968322</c:v>
                </c:pt>
                <c:pt idx="11">
                  <c:v>0.57110220204849627</c:v>
                </c:pt>
                <c:pt idx="12">
                  <c:v>0.59203895959467656</c:v>
                </c:pt>
                <c:pt idx="13">
                  <c:v>0.60809003073360579</c:v>
                </c:pt>
                <c:pt idx="14">
                  <c:v>0.5600813514945705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Változó kama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57150">
              <a:solidFill>
                <a:schemeClr val="accent3">
                  <a:lumMod val="60000"/>
                  <a:lumOff val="40000"/>
                </a:schemeClr>
              </a:solidFill>
            </a:ln>
          </c:spPr>
          <c:invertIfNegative val="0"/>
          <c:cat>
            <c:numRef>
              <c:f>Munka1!$A$2:$A$16</c:f>
              <c:numCache>
                <c:formatCode>[$-40E]yyyy/\ mmm</c:formatCode>
                <c:ptCount val="15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</c:numCache>
            </c:numRef>
          </c:cat>
          <c:val>
            <c:numRef>
              <c:f>Munka1!$C$2:$C$16</c:f>
              <c:numCache>
                <c:formatCode>0.0%</c:formatCode>
                <c:ptCount val="15"/>
                <c:pt idx="0">
                  <c:v>0.48320495499107141</c:v>
                </c:pt>
                <c:pt idx="1">
                  <c:v>0.45788675079739521</c:v>
                </c:pt>
                <c:pt idx="2">
                  <c:v>0.43527148804710747</c:v>
                </c:pt>
                <c:pt idx="3">
                  <c:v>0.46563717606346194</c:v>
                </c:pt>
                <c:pt idx="4">
                  <c:v>0.516084892682796</c:v>
                </c:pt>
                <c:pt idx="5">
                  <c:v>0.50194329259344317</c:v>
                </c:pt>
                <c:pt idx="6">
                  <c:v>0.5387660165763134</c:v>
                </c:pt>
                <c:pt idx="7">
                  <c:v>0.50722482606314767</c:v>
                </c:pt>
                <c:pt idx="8">
                  <c:v>0.5140113580446154</c:v>
                </c:pt>
                <c:pt idx="9">
                  <c:v>0.49101959913201521</c:v>
                </c:pt>
                <c:pt idx="10">
                  <c:v>0.45398018902031667</c:v>
                </c:pt>
                <c:pt idx="11">
                  <c:v>0.42889779795150368</c:v>
                </c:pt>
                <c:pt idx="12">
                  <c:v>0.40796104040532344</c:v>
                </c:pt>
                <c:pt idx="13">
                  <c:v>0.39190996926639421</c:v>
                </c:pt>
                <c:pt idx="14">
                  <c:v>0.439918648505429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22947200"/>
        <c:axId val="223044736"/>
      </c:barChart>
      <c:dateAx>
        <c:axId val="222947200"/>
        <c:scaling>
          <c:orientation val="minMax"/>
        </c:scaling>
        <c:delete val="0"/>
        <c:axPos val="b"/>
        <c:numFmt formatCode="[$-40E]yyyy/\ mmm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800"/>
            </a:pPr>
            <a:endParaRPr lang="hu-HU"/>
          </a:p>
        </c:txPr>
        <c:crossAx val="223044736"/>
        <c:crosses val="autoZero"/>
        <c:auto val="1"/>
        <c:lblOffset val="100"/>
        <c:baseTimeUnit val="months"/>
      </c:dateAx>
      <c:valAx>
        <c:axId val="223044736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2229472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3056424404885689"/>
          <c:y val="1.523365744749822E-2"/>
          <c:w val="0.61364098196116856"/>
          <c:h val="9.54578106237815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184617405534127E-2"/>
          <c:y val="0.10095835357505631"/>
          <c:w val="0.92510970395113912"/>
          <c:h val="0.73732322205850065"/>
        </c:manualLayout>
      </c:layout>
      <c:areaChart>
        <c:grouping val="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Támogatott HUF lakáshitel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B$2:$B$196</c:f>
              <c:numCache>
                <c:formatCode>General</c:formatCode>
                <c:ptCount val="1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.2797345970219414</c:v>
                </c:pt>
                <c:pt idx="13">
                  <c:v>1.7940592437060843</c:v>
                </c:pt>
                <c:pt idx="14">
                  <c:v>2.0130801462816152</c:v>
                </c:pt>
                <c:pt idx="15">
                  <c:v>2.4950506549278977</c:v>
                </c:pt>
                <c:pt idx="16">
                  <c:v>6.5660562636843149</c:v>
                </c:pt>
                <c:pt idx="17">
                  <c:v>10.338758711673288</c:v>
                </c:pt>
                <c:pt idx="18">
                  <c:v>10.094897344006657</c:v>
                </c:pt>
                <c:pt idx="19">
                  <c:v>9.5752235298984338</c:v>
                </c:pt>
                <c:pt idx="20">
                  <c:v>9.2905631451802986</c:v>
                </c:pt>
                <c:pt idx="21">
                  <c:v>11.099531752185564</c:v>
                </c:pt>
                <c:pt idx="22">
                  <c:v>7.8610962688643555</c:v>
                </c:pt>
                <c:pt idx="23">
                  <c:v>9.1642138368969324</c:v>
                </c:pt>
                <c:pt idx="24">
                  <c:v>9.2959008131999923</c:v>
                </c:pt>
                <c:pt idx="25">
                  <c:v>10.147308844150661</c:v>
                </c:pt>
                <c:pt idx="26">
                  <c:v>13.262084456458474</c:v>
                </c:pt>
                <c:pt idx="27">
                  <c:v>18.984539562852365</c:v>
                </c:pt>
                <c:pt idx="28">
                  <c:v>28.107165672500223</c:v>
                </c:pt>
                <c:pt idx="29">
                  <c:v>35.174795821108972</c:v>
                </c:pt>
                <c:pt idx="30">
                  <c:v>43.436952638241912</c:v>
                </c:pt>
                <c:pt idx="31">
                  <c:v>39.641589504970646</c:v>
                </c:pt>
                <c:pt idx="32">
                  <c:v>42.428536488599995</c:v>
                </c:pt>
                <c:pt idx="33">
                  <c:v>45.267522428239687</c:v>
                </c:pt>
                <c:pt idx="34">
                  <c:v>41.915456312549033</c:v>
                </c:pt>
                <c:pt idx="35">
                  <c:v>43.625825168878208</c:v>
                </c:pt>
                <c:pt idx="36">
                  <c:v>40.089462582185185</c:v>
                </c:pt>
                <c:pt idx="37">
                  <c:v>42.717859835001455</c:v>
                </c:pt>
                <c:pt idx="38">
                  <c:v>47.189892457808092</c:v>
                </c:pt>
                <c:pt idx="39">
                  <c:v>57.211617655680698</c:v>
                </c:pt>
                <c:pt idx="40">
                  <c:v>64.060138112986223</c:v>
                </c:pt>
                <c:pt idx="41">
                  <c:v>70.739580384438213</c:v>
                </c:pt>
                <c:pt idx="42">
                  <c:v>76.585586749863879</c:v>
                </c:pt>
                <c:pt idx="43">
                  <c:v>64.985798484023618</c:v>
                </c:pt>
                <c:pt idx="44">
                  <c:v>71.464567151053217</c:v>
                </c:pt>
                <c:pt idx="45">
                  <c:v>62.105491812890008</c:v>
                </c:pt>
                <c:pt idx="46">
                  <c:v>54.108435194103613</c:v>
                </c:pt>
                <c:pt idx="47">
                  <c:v>53.011134846517862</c:v>
                </c:pt>
                <c:pt idx="48">
                  <c:v>37.020168883998963</c:v>
                </c:pt>
                <c:pt idx="49">
                  <c:v>40.681436032040104</c:v>
                </c:pt>
                <c:pt idx="50">
                  <c:v>31.476651824149471</c:v>
                </c:pt>
                <c:pt idx="51">
                  <c:v>18.321083265287999</c:v>
                </c:pt>
                <c:pt idx="52">
                  <c:v>14.641187664511412</c:v>
                </c:pt>
                <c:pt idx="53">
                  <c:v>16.14621140842743</c:v>
                </c:pt>
                <c:pt idx="54">
                  <c:v>13.244053709354722</c:v>
                </c:pt>
                <c:pt idx="55">
                  <c:v>11.780167798562783</c:v>
                </c:pt>
                <c:pt idx="56">
                  <c:v>15.655662153061307</c:v>
                </c:pt>
                <c:pt idx="57">
                  <c:v>17.114260688018536</c:v>
                </c:pt>
                <c:pt idx="58">
                  <c:v>14.456471031929102</c:v>
                </c:pt>
                <c:pt idx="59">
                  <c:v>11.816941140448039</c:v>
                </c:pt>
                <c:pt idx="60">
                  <c:v>11.260129117486537</c:v>
                </c:pt>
                <c:pt idx="61">
                  <c:v>11.384834518384892</c:v>
                </c:pt>
                <c:pt idx="62">
                  <c:v>13.06731655343507</c:v>
                </c:pt>
                <c:pt idx="63">
                  <c:v>14.581681119141157</c:v>
                </c:pt>
                <c:pt idx="64">
                  <c:v>14.691361251250703</c:v>
                </c:pt>
                <c:pt idx="65">
                  <c:v>18.000575112379746</c:v>
                </c:pt>
                <c:pt idx="66">
                  <c:v>15.242765466693228</c:v>
                </c:pt>
                <c:pt idx="67">
                  <c:v>16.279707196115542</c:v>
                </c:pt>
                <c:pt idx="68">
                  <c:v>14.056590276217261</c:v>
                </c:pt>
                <c:pt idx="69">
                  <c:v>13.503925350458481</c:v>
                </c:pt>
                <c:pt idx="70">
                  <c:v>13.67196454584635</c:v>
                </c:pt>
                <c:pt idx="71">
                  <c:v>12.878793729864123</c:v>
                </c:pt>
                <c:pt idx="72">
                  <c:v>9.33154185473742</c:v>
                </c:pt>
                <c:pt idx="73">
                  <c:v>9.1380092512138837</c:v>
                </c:pt>
                <c:pt idx="74">
                  <c:v>10.331215154737903</c:v>
                </c:pt>
                <c:pt idx="75">
                  <c:v>10.343293966256498</c:v>
                </c:pt>
                <c:pt idx="76">
                  <c:v>11.912774937994159</c:v>
                </c:pt>
                <c:pt idx="77">
                  <c:v>14.844211114950218</c:v>
                </c:pt>
                <c:pt idx="78">
                  <c:v>11.853574963643455</c:v>
                </c:pt>
                <c:pt idx="79">
                  <c:v>15.318713414532033</c:v>
                </c:pt>
                <c:pt idx="80">
                  <c:v>13.851264946704337</c:v>
                </c:pt>
                <c:pt idx="81">
                  <c:v>12.566011366149674</c:v>
                </c:pt>
                <c:pt idx="82">
                  <c:v>16.51676594226263</c:v>
                </c:pt>
                <c:pt idx="83">
                  <c:v>14.783661722400538</c:v>
                </c:pt>
                <c:pt idx="84">
                  <c:v>8.3453981376339943</c:v>
                </c:pt>
                <c:pt idx="85">
                  <c:v>6.8567314272588051</c:v>
                </c:pt>
                <c:pt idx="86">
                  <c:v>7.2143234781776417</c:v>
                </c:pt>
                <c:pt idx="87">
                  <c:v>7.5415362117151572</c:v>
                </c:pt>
                <c:pt idx="88">
                  <c:v>8.5239016251914155</c:v>
                </c:pt>
                <c:pt idx="89">
                  <c:v>7.95038933212098</c:v>
                </c:pt>
                <c:pt idx="90">
                  <c:v>9.6156456380168525</c:v>
                </c:pt>
                <c:pt idx="91">
                  <c:v>8.9548289615237309</c:v>
                </c:pt>
                <c:pt idx="92">
                  <c:v>7.5127997343032185</c:v>
                </c:pt>
                <c:pt idx="93">
                  <c:v>8.1185259044793217</c:v>
                </c:pt>
                <c:pt idx="94">
                  <c:v>7.6779704351071958</c:v>
                </c:pt>
                <c:pt idx="95">
                  <c:v>7.7493315028713639</c:v>
                </c:pt>
                <c:pt idx="96">
                  <c:v>6.6775206388951833</c:v>
                </c:pt>
                <c:pt idx="97">
                  <c:v>4.947901483450468</c:v>
                </c:pt>
                <c:pt idx="98">
                  <c:v>5.3971069905539153</c:v>
                </c:pt>
                <c:pt idx="99">
                  <c:v>7.5561656934179702</c:v>
                </c:pt>
                <c:pt idx="100">
                  <c:v>6.1482605626464109</c:v>
                </c:pt>
                <c:pt idx="101">
                  <c:v>7.0261596736189809</c:v>
                </c:pt>
                <c:pt idx="102">
                  <c:v>7.8753422745031401</c:v>
                </c:pt>
                <c:pt idx="103">
                  <c:v>5.8974127196402906</c:v>
                </c:pt>
                <c:pt idx="104">
                  <c:v>6.7915550216882012</c:v>
                </c:pt>
                <c:pt idx="105">
                  <c:v>7.5792544223532099</c:v>
                </c:pt>
                <c:pt idx="106">
                  <c:v>9.1767705271669353</c:v>
                </c:pt>
                <c:pt idx="107">
                  <c:v>8.0033156086677231</c:v>
                </c:pt>
                <c:pt idx="108">
                  <c:v>5.6769414122763422</c:v>
                </c:pt>
                <c:pt idx="109">
                  <c:v>5.6290404570079478</c:v>
                </c:pt>
                <c:pt idx="110">
                  <c:v>6.6472338389661987</c:v>
                </c:pt>
                <c:pt idx="111">
                  <c:v>7.0991193891650095</c:v>
                </c:pt>
                <c:pt idx="112">
                  <c:v>7.7563235666003978</c:v>
                </c:pt>
                <c:pt idx="113">
                  <c:v>13.366641280815109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8.8351240000000025E-2</c:v>
                </c:pt>
                <c:pt idx="119">
                  <c:v>9.9705163706000119E-2</c:v>
                </c:pt>
                <c:pt idx="120">
                  <c:v>0.26748999377886479</c:v>
                </c:pt>
                <c:pt idx="121">
                  <c:v>0.37382202276569343</c:v>
                </c:pt>
                <c:pt idx="122">
                  <c:v>0.54078863651041653</c:v>
                </c:pt>
                <c:pt idx="123">
                  <c:v>0.8271093790919849</c:v>
                </c:pt>
                <c:pt idx="124">
                  <c:v>0.89248998645960553</c:v>
                </c:pt>
                <c:pt idx="125">
                  <c:v>1.2631626563243066</c:v>
                </c:pt>
                <c:pt idx="126">
                  <c:v>1.1381211464226246</c:v>
                </c:pt>
                <c:pt idx="127">
                  <c:v>1.2102514138756677</c:v>
                </c:pt>
                <c:pt idx="128">
                  <c:v>1.1954106733634313</c:v>
                </c:pt>
                <c:pt idx="129">
                  <c:v>1.0562114767505606</c:v>
                </c:pt>
                <c:pt idx="130">
                  <c:v>1.1140279216921587</c:v>
                </c:pt>
                <c:pt idx="131">
                  <c:v>1.1070071457166397</c:v>
                </c:pt>
                <c:pt idx="132">
                  <c:v>0.30419524618323945</c:v>
                </c:pt>
                <c:pt idx="133">
                  <c:v>0.32844079930604397</c:v>
                </c:pt>
                <c:pt idx="134">
                  <c:v>0.42586302016865796</c:v>
                </c:pt>
                <c:pt idx="135">
                  <c:v>0.40379465480059729</c:v>
                </c:pt>
                <c:pt idx="136">
                  <c:v>0.4876409769413213</c:v>
                </c:pt>
                <c:pt idx="137">
                  <c:v>0.53114718601106781</c:v>
                </c:pt>
                <c:pt idx="138">
                  <c:v>0.48373932139406206</c:v>
                </c:pt>
                <c:pt idx="139">
                  <c:v>0.51867055890284608</c:v>
                </c:pt>
                <c:pt idx="140">
                  <c:v>0.46407513265108929</c:v>
                </c:pt>
                <c:pt idx="141">
                  <c:v>0.42744043492621231</c:v>
                </c:pt>
                <c:pt idx="142">
                  <c:v>0.60474411232431546</c:v>
                </c:pt>
                <c:pt idx="143">
                  <c:v>1.0857136182185518</c:v>
                </c:pt>
                <c:pt idx="144">
                  <c:v>2.6946992086700154</c:v>
                </c:pt>
                <c:pt idx="145">
                  <c:v>1.6320996560607306</c:v>
                </c:pt>
                <c:pt idx="146">
                  <c:v>0.52126021042260751</c:v>
                </c:pt>
                <c:pt idx="147">
                  <c:v>0.43811663779405607</c:v>
                </c:pt>
                <c:pt idx="148">
                  <c:v>0.52286819954393826</c:v>
                </c:pt>
                <c:pt idx="149">
                  <c:v>0.49001484099810716</c:v>
                </c:pt>
                <c:pt idx="150">
                  <c:v>0.51591032394904857</c:v>
                </c:pt>
                <c:pt idx="151">
                  <c:v>0.47170530023093571</c:v>
                </c:pt>
                <c:pt idx="152">
                  <c:v>0.43995050974335653</c:v>
                </c:pt>
                <c:pt idx="153">
                  <c:v>0.41723436708609496</c:v>
                </c:pt>
                <c:pt idx="154">
                  <c:v>0.4253920367851039</c:v>
                </c:pt>
                <c:pt idx="155">
                  <c:v>0.37859927692434342</c:v>
                </c:pt>
                <c:pt idx="156">
                  <c:v>2.1187545961058887</c:v>
                </c:pt>
                <c:pt idx="157">
                  <c:v>1.9824284541530792</c:v>
                </c:pt>
                <c:pt idx="158">
                  <c:v>2.3769518082869752</c:v>
                </c:pt>
                <c:pt idx="159">
                  <c:v>2.6862859044504126</c:v>
                </c:pt>
                <c:pt idx="160">
                  <c:v>3.5480877167274154</c:v>
                </c:pt>
                <c:pt idx="161">
                  <c:v>3.5837599733358907</c:v>
                </c:pt>
                <c:pt idx="162">
                  <c:v>3.9792967541147126</c:v>
                </c:pt>
                <c:pt idx="163">
                  <c:v>3.6179733807404579</c:v>
                </c:pt>
                <c:pt idx="164">
                  <c:v>3.9137213146556684</c:v>
                </c:pt>
                <c:pt idx="165">
                  <c:v>3.8438439087665448</c:v>
                </c:pt>
                <c:pt idx="166">
                  <c:v>3.5720791151160545</c:v>
                </c:pt>
                <c:pt idx="167">
                  <c:v>3.8287016062919634</c:v>
                </c:pt>
                <c:pt idx="168">
                  <c:v>2.9108155234160886</c:v>
                </c:pt>
                <c:pt idx="169">
                  <c:v>2.8094471974968283</c:v>
                </c:pt>
                <c:pt idx="170">
                  <c:v>3.5214385433023851</c:v>
                </c:pt>
                <c:pt idx="171">
                  <c:v>4.5355774770338275</c:v>
                </c:pt>
                <c:pt idx="172">
                  <c:v>5.1458698240091634</c:v>
                </c:pt>
                <c:pt idx="173">
                  <c:v>8.658524822692133</c:v>
                </c:pt>
                <c:pt idx="174">
                  <c:v>6.3809927402347739</c:v>
                </c:pt>
                <c:pt idx="175">
                  <c:v>5.6448036471348493</c:v>
                </c:pt>
                <c:pt idx="176">
                  <c:v>6.0759715683749818</c:v>
                </c:pt>
                <c:pt idx="177">
                  <c:v>5.3591090351016426</c:v>
                </c:pt>
                <c:pt idx="178">
                  <c:v>5.2817882607223199</c:v>
                </c:pt>
                <c:pt idx="179">
                  <c:v>5.7099990213587484</c:v>
                </c:pt>
                <c:pt idx="180">
                  <c:v>3.2707238720141132</c:v>
                </c:pt>
                <c:pt idx="181">
                  <c:v>1.7651303909078218</c:v>
                </c:pt>
                <c:pt idx="182">
                  <c:v>3.2455284217341664</c:v>
                </c:pt>
                <c:pt idx="183">
                  <c:v>3.5109708149987866</c:v>
                </c:pt>
                <c:pt idx="184">
                  <c:v>3.3393503090862637</c:v>
                </c:pt>
                <c:pt idx="185">
                  <c:v>4.4332961912588544</c:v>
                </c:pt>
                <c:pt idx="186">
                  <c:v>3.9741634374636896</c:v>
                </c:pt>
                <c:pt idx="187">
                  <c:v>3.9478299065503952</c:v>
                </c:pt>
                <c:pt idx="188">
                  <c:v>4.7002613856408697</c:v>
                </c:pt>
                <c:pt idx="189">
                  <c:v>4.2537034319797176</c:v>
                </c:pt>
                <c:pt idx="190">
                  <c:v>4.1248735884388399</c:v>
                </c:pt>
                <c:pt idx="191">
                  <c:v>4.3551682499264883</c:v>
                </c:pt>
                <c:pt idx="192">
                  <c:v>3.2397885849304919</c:v>
                </c:pt>
                <c:pt idx="193">
                  <c:v>3.6627206145124749</c:v>
                </c:pt>
                <c:pt idx="194">
                  <c:v>4.216876430000000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Piaci HUF lakáshitel</c:v>
                </c:pt>
              </c:strCache>
            </c:strRef>
          </c:tx>
          <c:spPr>
            <a:solidFill>
              <a:srgbClr val="9ED561"/>
            </a:solidFill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C$2:$C$196</c:f>
              <c:numCache>
                <c:formatCode>General</c:formatCode>
                <c:ptCount val="195"/>
                <c:pt idx="0">
                  <c:v>0.55371800000000004</c:v>
                </c:pt>
                <c:pt idx="1">
                  <c:v>0.75864800000000054</c:v>
                </c:pt>
                <c:pt idx="2">
                  <c:v>2.3655149999999998</c:v>
                </c:pt>
                <c:pt idx="3">
                  <c:v>3.5085410000000001</c:v>
                </c:pt>
                <c:pt idx="4">
                  <c:v>4.3497620000000028</c:v>
                </c:pt>
                <c:pt idx="5">
                  <c:v>4.5699109999999967</c:v>
                </c:pt>
                <c:pt idx="6">
                  <c:v>4.9854026200000003</c:v>
                </c:pt>
                <c:pt idx="7">
                  <c:v>5.9676638500000001</c:v>
                </c:pt>
                <c:pt idx="8">
                  <c:v>7.8933819399999967</c:v>
                </c:pt>
                <c:pt idx="9">
                  <c:v>5.199001</c:v>
                </c:pt>
                <c:pt idx="10">
                  <c:v>4.7212470000000026</c:v>
                </c:pt>
                <c:pt idx="11">
                  <c:v>5.4163290000000028</c:v>
                </c:pt>
                <c:pt idx="12">
                  <c:v>1.1230504029780581</c:v>
                </c:pt>
                <c:pt idx="13">
                  <c:v>1.5744037562939157</c:v>
                </c:pt>
                <c:pt idx="14">
                  <c:v>1.7666088537183855</c:v>
                </c:pt>
                <c:pt idx="15">
                  <c:v>2.1895693450721012</c:v>
                </c:pt>
                <c:pt idx="16">
                  <c:v>5.7621417363156846</c:v>
                </c:pt>
                <c:pt idx="17">
                  <c:v>9.0729336883267155</c:v>
                </c:pt>
                <c:pt idx="18">
                  <c:v>8.858929465993338</c:v>
                </c:pt>
                <c:pt idx="19">
                  <c:v>8.4028818701015666</c:v>
                </c:pt>
                <c:pt idx="20">
                  <c:v>8.1530738548197004</c:v>
                </c:pt>
                <c:pt idx="21">
                  <c:v>9.7405615478144334</c:v>
                </c:pt>
                <c:pt idx="22">
                  <c:v>6.8986236311356421</c:v>
                </c:pt>
                <c:pt idx="23">
                  <c:v>8.0421941131030668</c:v>
                </c:pt>
                <c:pt idx="24">
                  <c:v>3.0586420868000133</c:v>
                </c:pt>
                <c:pt idx="25">
                  <c:v>3.3387819558493312</c:v>
                </c:pt>
                <c:pt idx="26">
                  <c:v>4.3636405435415311</c:v>
                </c:pt>
                <c:pt idx="27">
                  <c:v>6.2465072371476253</c:v>
                </c:pt>
                <c:pt idx="28">
                  <c:v>9.2481365274997849</c:v>
                </c:pt>
                <c:pt idx="29">
                  <c:v>11.573607878891055</c:v>
                </c:pt>
                <c:pt idx="30">
                  <c:v>14.292115861758099</c:v>
                </c:pt>
                <c:pt idx="31">
                  <c:v>13.04332269502933</c:v>
                </c:pt>
                <c:pt idx="32">
                  <c:v>13.960315411400035</c:v>
                </c:pt>
                <c:pt idx="33">
                  <c:v>14.894430571760322</c:v>
                </c:pt>
                <c:pt idx="34">
                  <c:v>13.791495987450963</c:v>
                </c:pt>
                <c:pt idx="35">
                  <c:v>14.354260831121824</c:v>
                </c:pt>
                <c:pt idx="36">
                  <c:v>6.8575374178148145</c:v>
                </c:pt>
                <c:pt idx="37">
                  <c:v>7.3071401649985344</c:v>
                </c:pt>
                <c:pt idx="38">
                  <c:v>8.0721075421918833</c:v>
                </c:pt>
                <c:pt idx="39">
                  <c:v>9.786382344319275</c:v>
                </c:pt>
                <c:pt idx="40">
                  <c:v>10.957861887013694</c:v>
                </c:pt>
                <c:pt idx="41">
                  <c:v>12.100419615561796</c:v>
                </c:pt>
                <c:pt idx="42">
                  <c:v>13.100413250136103</c:v>
                </c:pt>
                <c:pt idx="43">
                  <c:v>11.116201515976382</c:v>
                </c:pt>
                <c:pt idx="44">
                  <c:v>12.224432848946774</c:v>
                </c:pt>
                <c:pt idx="45">
                  <c:v>10.623508187110007</c:v>
                </c:pt>
                <c:pt idx="46">
                  <c:v>9.2555648058964017</c:v>
                </c:pt>
                <c:pt idx="47">
                  <c:v>9.0678651534821384</c:v>
                </c:pt>
                <c:pt idx="48">
                  <c:v>10.674831116001057</c:v>
                </c:pt>
                <c:pt idx="49">
                  <c:v>11.730563967959892</c:v>
                </c:pt>
                <c:pt idx="50">
                  <c:v>9.0763481758505176</c:v>
                </c:pt>
                <c:pt idx="51">
                  <c:v>5.2829167347120016</c:v>
                </c:pt>
                <c:pt idx="52">
                  <c:v>4.2218123354885817</c:v>
                </c:pt>
                <c:pt idx="53">
                  <c:v>4.6557885915725752</c:v>
                </c:pt>
                <c:pt idx="54">
                  <c:v>3.8189462906452656</c:v>
                </c:pt>
                <c:pt idx="55">
                  <c:v>3.3968322014372161</c:v>
                </c:pt>
                <c:pt idx="56">
                  <c:v>4.5143378469386954</c:v>
                </c:pt>
                <c:pt idx="57">
                  <c:v>4.9349273119814887</c:v>
                </c:pt>
                <c:pt idx="58">
                  <c:v>4.1685489680709047</c:v>
                </c:pt>
                <c:pt idx="59">
                  <c:v>3.4074358595519616</c:v>
                </c:pt>
                <c:pt idx="60">
                  <c:v>2.2622758825134599</c:v>
                </c:pt>
                <c:pt idx="61">
                  <c:v>2.2873304816151174</c:v>
                </c:pt>
                <c:pt idx="62">
                  <c:v>2.6253584465649351</c:v>
                </c:pt>
                <c:pt idx="63">
                  <c:v>2.9296098808588407</c:v>
                </c:pt>
                <c:pt idx="64">
                  <c:v>2.9516457487492898</c:v>
                </c:pt>
                <c:pt idx="65">
                  <c:v>3.6165008876202518</c:v>
                </c:pt>
                <c:pt idx="66">
                  <c:v>3.062428533306766</c:v>
                </c:pt>
                <c:pt idx="67">
                  <c:v>3.2707608038844542</c:v>
                </c:pt>
                <c:pt idx="68">
                  <c:v>2.8241137237827516</c:v>
                </c:pt>
                <c:pt idx="69">
                  <c:v>2.7130776495415163</c:v>
                </c:pt>
                <c:pt idx="70">
                  <c:v>2.7468384541536537</c:v>
                </c:pt>
                <c:pt idx="71">
                  <c:v>2.5874822701358782</c:v>
                </c:pt>
                <c:pt idx="72">
                  <c:v>1.4216461452625795</c:v>
                </c:pt>
                <c:pt idx="73">
                  <c:v>1.39216174878611</c:v>
                </c:pt>
                <c:pt idx="74">
                  <c:v>1.573944845262099</c:v>
                </c:pt>
                <c:pt idx="75">
                  <c:v>1.5757850337434975</c:v>
                </c:pt>
                <c:pt idx="76">
                  <c:v>1.8148930620058419</c:v>
                </c:pt>
                <c:pt idx="77">
                  <c:v>2.2614928850497829</c:v>
                </c:pt>
                <c:pt idx="78">
                  <c:v>1.8058740363565489</c:v>
                </c:pt>
                <c:pt idx="79">
                  <c:v>2.3337825854679672</c:v>
                </c:pt>
                <c:pt idx="80">
                  <c:v>2.1102190532956682</c:v>
                </c:pt>
                <c:pt idx="81">
                  <c:v>1.9144126338503307</c:v>
                </c:pt>
                <c:pt idx="82">
                  <c:v>2.5163040577373788</c:v>
                </c:pt>
                <c:pt idx="83">
                  <c:v>2.2522682775994576</c:v>
                </c:pt>
                <c:pt idx="84">
                  <c:v>1.7533648623660028</c:v>
                </c:pt>
                <c:pt idx="85">
                  <c:v>1.4405965727411938</c:v>
                </c:pt>
                <c:pt idx="86">
                  <c:v>1.5157265218223579</c:v>
                </c:pt>
                <c:pt idx="87">
                  <c:v>1.584473788284839</c:v>
                </c:pt>
                <c:pt idx="88">
                  <c:v>1.7908683748085761</c:v>
                </c:pt>
                <c:pt idx="89">
                  <c:v>1.67037366787902</c:v>
                </c:pt>
                <c:pt idx="90">
                  <c:v>2.0202433619831548</c:v>
                </c:pt>
                <c:pt idx="91">
                  <c:v>1.8814060384762641</c:v>
                </c:pt>
                <c:pt idx="92">
                  <c:v>1.5784362656967841</c:v>
                </c:pt>
                <c:pt idx="93">
                  <c:v>1.7056990955206726</c:v>
                </c:pt>
                <c:pt idx="94">
                  <c:v>1.6131385648928029</c:v>
                </c:pt>
                <c:pt idx="95">
                  <c:v>1.628131497128636</c:v>
                </c:pt>
                <c:pt idx="96">
                  <c:v>1.9698963611048135</c:v>
                </c:pt>
                <c:pt idx="97">
                  <c:v>1.4596515165495354</c:v>
                </c:pt>
                <c:pt idx="98">
                  <c:v>1.5921690094460821</c:v>
                </c:pt>
                <c:pt idx="99">
                  <c:v>2.2291003065820316</c:v>
                </c:pt>
                <c:pt idx="100">
                  <c:v>1.8137624373535854</c:v>
                </c:pt>
                <c:pt idx="101">
                  <c:v>2.0727463263810173</c:v>
                </c:pt>
                <c:pt idx="102">
                  <c:v>2.3232587254968626</c:v>
                </c:pt>
                <c:pt idx="103">
                  <c:v>1.7397612803597056</c:v>
                </c:pt>
                <c:pt idx="104">
                  <c:v>2.0035369783117987</c:v>
                </c:pt>
                <c:pt idx="105">
                  <c:v>2.2359115776467942</c:v>
                </c:pt>
                <c:pt idx="106">
                  <c:v>2.7071854728330691</c:v>
                </c:pt>
                <c:pt idx="107">
                  <c:v>2.361011391332275</c:v>
                </c:pt>
                <c:pt idx="108">
                  <c:v>1.8648255877236579</c:v>
                </c:pt>
                <c:pt idx="109">
                  <c:v>1.8490905429920477</c:v>
                </c:pt>
                <c:pt idx="110">
                  <c:v>2.1835581610337971</c:v>
                </c:pt>
                <c:pt idx="111">
                  <c:v>2.3319986108349888</c:v>
                </c:pt>
                <c:pt idx="112">
                  <c:v>2.5478844333996009</c:v>
                </c:pt>
                <c:pt idx="113">
                  <c:v>4.3908247191848897</c:v>
                </c:pt>
                <c:pt idx="114">
                  <c:v>17.775028999999993</c:v>
                </c:pt>
                <c:pt idx="115">
                  <c:v>9.8443819999999995</c:v>
                </c:pt>
                <c:pt idx="116">
                  <c:v>7.0151900000000005</c:v>
                </c:pt>
                <c:pt idx="117">
                  <c:v>5.0470380000000006</c:v>
                </c:pt>
                <c:pt idx="118">
                  <c:v>4.3292107599999969</c:v>
                </c:pt>
                <c:pt idx="119">
                  <c:v>4.8855530215940011</c:v>
                </c:pt>
                <c:pt idx="120">
                  <c:v>3.9512324284211342</c:v>
                </c:pt>
                <c:pt idx="121">
                  <c:v>5.5219175788343042</c:v>
                </c:pt>
                <c:pt idx="122">
                  <c:v>7.9882674013895896</c:v>
                </c:pt>
                <c:pt idx="123">
                  <c:v>12.21765851630802</c:v>
                </c:pt>
                <c:pt idx="124">
                  <c:v>13.1834291321404</c:v>
                </c:pt>
                <c:pt idx="125">
                  <c:v>18.658825997675695</c:v>
                </c:pt>
                <c:pt idx="126">
                  <c:v>16.811773471177364</c:v>
                </c:pt>
                <c:pt idx="127">
                  <c:v>17.877246791524321</c:v>
                </c:pt>
                <c:pt idx="128">
                  <c:v>17.65802657193656</c:v>
                </c:pt>
                <c:pt idx="129">
                  <c:v>15.601843565249442</c:v>
                </c:pt>
                <c:pt idx="130">
                  <c:v>16.455880043107829</c:v>
                </c:pt>
                <c:pt idx="131">
                  <c:v>16.35217254618334</c:v>
                </c:pt>
                <c:pt idx="132">
                  <c:v>11.06281175381676</c:v>
                </c:pt>
                <c:pt idx="133">
                  <c:v>11.944561200693951</c:v>
                </c:pt>
                <c:pt idx="134">
                  <c:v>15.487560979831347</c:v>
                </c:pt>
                <c:pt idx="135">
                  <c:v>14.684990345199401</c:v>
                </c:pt>
                <c:pt idx="136">
                  <c:v>17.734269023058697</c:v>
                </c:pt>
                <c:pt idx="137">
                  <c:v>19.316479813988927</c:v>
                </c:pt>
                <c:pt idx="138">
                  <c:v>17.592375678605929</c:v>
                </c:pt>
                <c:pt idx="139">
                  <c:v>18.862736441097134</c:v>
                </c:pt>
                <c:pt idx="140">
                  <c:v>16.877238867348911</c:v>
                </c:pt>
                <c:pt idx="141">
                  <c:v>15.544927565073781</c:v>
                </c:pt>
                <c:pt idx="142">
                  <c:v>21.993013887675673</c:v>
                </c:pt>
                <c:pt idx="143">
                  <c:v>39.484658381781422</c:v>
                </c:pt>
                <c:pt idx="144">
                  <c:v>58.719050791330005</c:v>
                </c:pt>
                <c:pt idx="145">
                  <c:v>35.564393343939287</c:v>
                </c:pt>
                <c:pt idx="146">
                  <c:v>11.358560789577394</c:v>
                </c:pt>
                <c:pt idx="147">
                  <c:v>9.5468143622059447</c:v>
                </c:pt>
                <c:pt idx="148">
                  <c:v>11.393599800456068</c:v>
                </c:pt>
                <c:pt idx="149">
                  <c:v>10.677706159001898</c:v>
                </c:pt>
                <c:pt idx="150">
                  <c:v>11.241983676050948</c:v>
                </c:pt>
                <c:pt idx="151">
                  <c:v>10.278730699769069</c:v>
                </c:pt>
                <c:pt idx="152">
                  <c:v>9.5867754902566436</c:v>
                </c:pt>
                <c:pt idx="153">
                  <c:v>9.0917776329139031</c:v>
                </c:pt>
                <c:pt idx="154">
                  <c:v>9.2695379632148942</c:v>
                </c:pt>
                <c:pt idx="155">
                  <c:v>8.2498967230756559</c:v>
                </c:pt>
                <c:pt idx="156">
                  <c:v>6.0913604038941171</c:v>
                </c:pt>
                <c:pt idx="157">
                  <c:v>5.6994265458469187</c:v>
                </c:pt>
                <c:pt idx="158">
                  <c:v>6.8336701917130318</c:v>
                </c:pt>
                <c:pt idx="159">
                  <c:v>7.7229970955495881</c:v>
                </c:pt>
                <c:pt idx="160">
                  <c:v>10.200653283272583</c:v>
                </c:pt>
                <c:pt idx="161">
                  <c:v>10.303210026664109</c:v>
                </c:pt>
                <c:pt idx="162">
                  <c:v>11.440367245885286</c:v>
                </c:pt>
                <c:pt idx="163">
                  <c:v>10.401572619259548</c:v>
                </c:pt>
                <c:pt idx="164">
                  <c:v>11.251839685344336</c:v>
                </c:pt>
                <c:pt idx="165">
                  <c:v>11.050944091233456</c:v>
                </c:pt>
                <c:pt idx="166">
                  <c:v>10.269627884883949</c:v>
                </c:pt>
                <c:pt idx="167">
                  <c:v>11.007410393708044</c:v>
                </c:pt>
                <c:pt idx="168">
                  <c:v>9.1048744765839107</c:v>
                </c:pt>
                <c:pt idx="169">
                  <c:v>8.7877998025031694</c:v>
                </c:pt>
                <c:pt idx="170">
                  <c:v>11.014870456697615</c:v>
                </c:pt>
                <c:pt idx="171">
                  <c:v>14.187042522966173</c:v>
                </c:pt>
                <c:pt idx="172">
                  <c:v>16.096004175990839</c:v>
                </c:pt>
                <c:pt idx="173">
                  <c:v>27.083400177307851</c:v>
                </c:pt>
                <c:pt idx="174">
                  <c:v>19.959402259765206</c:v>
                </c:pt>
                <c:pt idx="175">
                  <c:v>17.656642352865127</c:v>
                </c:pt>
                <c:pt idx="176">
                  <c:v>19.005312431624994</c:v>
                </c:pt>
                <c:pt idx="177">
                  <c:v>16.763004964898361</c:v>
                </c:pt>
                <c:pt idx="178">
                  <c:v>16.521149739277682</c:v>
                </c:pt>
                <c:pt idx="179">
                  <c:v>17.860569978641234</c:v>
                </c:pt>
                <c:pt idx="180">
                  <c:v>19.009492127985887</c:v>
                </c:pt>
                <c:pt idx="181">
                  <c:v>10.35194860909218</c:v>
                </c:pt>
                <c:pt idx="182">
                  <c:v>19.072784578265811</c:v>
                </c:pt>
                <c:pt idx="183">
                  <c:v>20.639190185001215</c:v>
                </c:pt>
                <c:pt idx="184">
                  <c:v>20.496962690913726</c:v>
                </c:pt>
                <c:pt idx="185">
                  <c:v>29.309520808741134</c:v>
                </c:pt>
                <c:pt idx="186">
                  <c:v>34.050702562536294</c:v>
                </c:pt>
                <c:pt idx="187">
                  <c:v>32.387239093449558</c:v>
                </c:pt>
                <c:pt idx="188">
                  <c:v>38.748217614359156</c:v>
                </c:pt>
                <c:pt idx="189">
                  <c:v>33.547246568020263</c:v>
                </c:pt>
                <c:pt idx="190">
                  <c:v>29.468025411561136</c:v>
                </c:pt>
                <c:pt idx="191">
                  <c:v>30.140103750073507</c:v>
                </c:pt>
                <c:pt idx="192">
                  <c:v>21.398923415069511</c:v>
                </c:pt>
                <c:pt idx="193">
                  <c:v>23.865443385487517</c:v>
                </c:pt>
                <c:pt idx="194">
                  <c:v>28.220634569999984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Deviza lakáshitel</c:v>
                </c:pt>
              </c:strCache>
            </c:strRef>
          </c:tx>
          <c:spPr>
            <a:solidFill>
              <a:srgbClr val="0070C0"/>
            </a:solidFill>
            <a:ln w="25400">
              <a:noFill/>
            </a:ln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D$2:$D$196</c:f>
              <c:numCache>
                <c:formatCode>General</c:formatCode>
                <c:ptCount val="1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1.267000000000001</c:v>
                </c:pt>
                <c:pt idx="61">
                  <c:v>11.728149999999999</c:v>
                </c:pt>
                <c:pt idx="62">
                  <c:v>18.09850999999998</c:v>
                </c:pt>
                <c:pt idx="63">
                  <c:v>22.593959999999999</c:v>
                </c:pt>
                <c:pt idx="64">
                  <c:v>26.1</c:v>
                </c:pt>
                <c:pt idx="65">
                  <c:v>31.737000000000005</c:v>
                </c:pt>
                <c:pt idx="66">
                  <c:v>28.013561000000013</c:v>
                </c:pt>
                <c:pt idx="67">
                  <c:v>32.907512000000011</c:v>
                </c:pt>
                <c:pt idx="68">
                  <c:v>31.239699999999988</c:v>
                </c:pt>
                <c:pt idx="69">
                  <c:v>29.798999999999989</c:v>
                </c:pt>
                <c:pt idx="70">
                  <c:v>35.77713500000003</c:v>
                </c:pt>
                <c:pt idx="71">
                  <c:v>30.100039000000002</c:v>
                </c:pt>
                <c:pt idx="72">
                  <c:v>23.887156999999988</c:v>
                </c:pt>
                <c:pt idx="73">
                  <c:v>22.757404000000001</c:v>
                </c:pt>
                <c:pt idx="74">
                  <c:v>31.543948</c:v>
                </c:pt>
                <c:pt idx="75">
                  <c:v>36.746130000000022</c:v>
                </c:pt>
                <c:pt idx="76">
                  <c:v>46.883430000000004</c:v>
                </c:pt>
                <c:pt idx="77">
                  <c:v>46.915204000000003</c:v>
                </c:pt>
                <c:pt idx="78">
                  <c:v>45.926113000000022</c:v>
                </c:pt>
                <c:pt idx="79">
                  <c:v>53.656403000000005</c:v>
                </c:pt>
                <c:pt idx="80">
                  <c:v>46.957292999999993</c:v>
                </c:pt>
                <c:pt idx="81">
                  <c:v>50.409766999999995</c:v>
                </c:pt>
                <c:pt idx="82">
                  <c:v>55.157194000000004</c:v>
                </c:pt>
                <c:pt idx="83">
                  <c:v>54.436273</c:v>
                </c:pt>
                <c:pt idx="84">
                  <c:v>42.277878000000001</c:v>
                </c:pt>
                <c:pt idx="85">
                  <c:v>39.426836000000002</c:v>
                </c:pt>
                <c:pt idx="86">
                  <c:v>42.766168000000022</c:v>
                </c:pt>
                <c:pt idx="87">
                  <c:v>47.957200999999998</c:v>
                </c:pt>
                <c:pt idx="88">
                  <c:v>56.065695000000012</c:v>
                </c:pt>
                <c:pt idx="89">
                  <c:v>58.250050000000002</c:v>
                </c:pt>
                <c:pt idx="90">
                  <c:v>61.693512000000048</c:v>
                </c:pt>
                <c:pt idx="91">
                  <c:v>60.134994000000006</c:v>
                </c:pt>
                <c:pt idx="92">
                  <c:v>53.243219127000003</c:v>
                </c:pt>
                <c:pt idx="93">
                  <c:v>66.034300928421018</c:v>
                </c:pt>
                <c:pt idx="94">
                  <c:v>69.469789340000005</c:v>
                </c:pt>
                <c:pt idx="95">
                  <c:v>65.796652962499948</c:v>
                </c:pt>
                <c:pt idx="96">
                  <c:v>57.724458173750001</c:v>
                </c:pt>
                <c:pt idx="97">
                  <c:v>54.035248005</c:v>
                </c:pt>
                <c:pt idx="98">
                  <c:v>59.703141860000002</c:v>
                </c:pt>
                <c:pt idx="99">
                  <c:v>77.380382767499924</c:v>
                </c:pt>
                <c:pt idx="100">
                  <c:v>64.433609596249994</c:v>
                </c:pt>
                <c:pt idx="101">
                  <c:v>69.609924387500001</c:v>
                </c:pt>
                <c:pt idx="102">
                  <c:v>75.804481749999979</c:v>
                </c:pt>
                <c:pt idx="103">
                  <c:v>64.345790053999934</c:v>
                </c:pt>
                <c:pt idx="104">
                  <c:v>73.607635137999935</c:v>
                </c:pt>
                <c:pt idx="105">
                  <c:v>79.805058363999933</c:v>
                </c:pt>
                <c:pt idx="106">
                  <c:v>54.030434</c:v>
                </c:pt>
                <c:pt idx="107">
                  <c:v>43.044151000000006</c:v>
                </c:pt>
                <c:pt idx="108">
                  <c:v>28.441245999999989</c:v>
                </c:pt>
                <c:pt idx="109">
                  <c:v>21.412925000000001</c:v>
                </c:pt>
                <c:pt idx="110">
                  <c:v>21.032881000000014</c:v>
                </c:pt>
                <c:pt idx="111">
                  <c:v>16.337783000000005</c:v>
                </c:pt>
                <c:pt idx="112">
                  <c:v>16.556962000000009</c:v>
                </c:pt>
                <c:pt idx="113">
                  <c:v>19.025032999999983</c:v>
                </c:pt>
                <c:pt idx="114">
                  <c:v>19.572611999999989</c:v>
                </c:pt>
                <c:pt idx="115">
                  <c:v>15.638723999999998</c:v>
                </c:pt>
                <c:pt idx="116">
                  <c:v>16.984444999999983</c:v>
                </c:pt>
                <c:pt idx="117">
                  <c:v>15.793779000000001</c:v>
                </c:pt>
                <c:pt idx="118">
                  <c:v>15.658799</c:v>
                </c:pt>
                <c:pt idx="119">
                  <c:v>14.026049</c:v>
                </c:pt>
                <c:pt idx="120">
                  <c:v>10.127686000000002</c:v>
                </c:pt>
                <c:pt idx="121">
                  <c:v>13.743230000000001</c:v>
                </c:pt>
                <c:pt idx="122">
                  <c:v>13.446609</c:v>
                </c:pt>
                <c:pt idx="123">
                  <c:v>6.0306949999999997</c:v>
                </c:pt>
                <c:pt idx="124">
                  <c:v>4.1557490000000001</c:v>
                </c:pt>
                <c:pt idx="125">
                  <c:v>4.811121</c:v>
                </c:pt>
                <c:pt idx="126">
                  <c:v>1.618066</c:v>
                </c:pt>
                <c:pt idx="127">
                  <c:v>0.89974900000000035</c:v>
                </c:pt>
                <c:pt idx="128">
                  <c:v>0.46779600000000005</c:v>
                </c:pt>
                <c:pt idx="129">
                  <c:v>0.264679</c:v>
                </c:pt>
                <c:pt idx="130">
                  <c:v>0.92141699999999938</c:v>
                </c:pt>
                <c:pt idx="131">
                  <c:v>0.30195100000000008</c:v>
                </c:pt>
                <c:pt idx="132">
                  <c:v>0.24302100000000001</c:v>
                </c:pt>
                <c:pt idx="133">
                  <c:v>0.46258000000000021</c:v>
                </c:pt>
                <c:pt idx="134">
                  <c:v>0.68132599999999999</c:v>
                </c:pt>
                <c:pt idx="135">
                  <c:v>0.67593000000000036</c:v>
                </c:pt>
                <c:pt idx="136">
                  <c:v>7.9699999999999993E-2</c:v>
                </c:pt>
                <c:pt idx="137">
                  <c:v>0.40998700000000027</c:v>
                </c:pt>
                <c:pt idx="138">
                  <c:v>0.4290150000000002</c:v>
                </c:pt>
                <c:pt idx="139">
                  <c:v>0.86092500000000061</c:v>
                </c:pt>
                <c:pt idx="140">
                  <c:v>0.47756700000000002</c:v>
                </c:pt>
                <c:pt idx="141">
                  <c:v>0.18335899999999999</c:v>
                </c:pt>
                <c:pt idx="142">
                  <c:v>0.21980400000000008</c:v>
                </c:pt>
                <c:pt idx="143">
                  <c:v>0.39595100000000016</c:v>
                </c:pt>
                <c:pt idx="144">
                  <c:v>5.3999000000000012E-2</c:v>
                </c:pt>
                <c:pt idx="145">
                  <c:v>2.9627000000000001E-2</c:v>
                </c:pt>
                <c:pt idx="146">
                  <c:v>5.2560000000000029E-3</c:v>
                </c:pt>
                <c:pt idx="147">
                  <c:v>0</c:v>
                </c:pt>
                <c:pt idx="148">
                  <c:v>0</c:v>
                </c:pt>
                <c:pt idx="149">
                  <c:v>4.9737000000000038E-2</c:v>
                </c:pt>
                <c:pt idx="150">
                  <c:v>0.13852</c:v>
                </c:pt>
                <c:pt idx="151">
                  <c:v>0</c:v>
                </c:pt>
                <c:pt idx="152">
                  <c:v>0</c:v>
                </c:pt>
                <c:pt idx="153">
                  <c:v>2.6132000000000002E-2</c:v>
                </c:pt>
                <c:pt idx="154">
                  <c:v>4.0265000000000002E-2</c:v>
                </c:pt>
                <c:pt idx="155">
                  <c:v>0.18082799999999999</c:v>
                </c:pt>
                <c:pt idx="156">
                  <c:v>3.4995999999999999E-2</c:v>
                </c:pt>
                <c:pt idx="157">
                  <c:v>0</c:v>
                </c:pt>
                <c:pt idx="158">
                  <c:v>0</c:v>
                </c:pt>
                <c:pt idx="159">
                  <c:v>6.9938000000000014E-2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4.5403000000000013E-2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067776"/>
        <c:axId val="309069312"/>
      </c:areaChart>
      <c:dateAx>
        <c:axId val="309067776"/>
        <c:scaling>
          <c:orientation val="minMax"/>
          <c:max val="42430"/>
          <c:min val="36526"/>
        </c:scaling>
        <c:delete val="0"/>
        <c:axPos val="b"/>
        <c:numFmt formatCode="[$-40E]yyyy/\ mmm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alibri Light" panose="020F0302020204030204" pitchFamily="34" charset="0"/>
              </a:defRPr>
            </a:pPr>
            <a:endParaRPr lang="hu-HU"/>
          </a:p>
        </c:txPr>
        <c:crossAx val="309069312"/>
        <c:crosses val="autoZero"/>
        <c:auto val="1"/>
        <c:lblOffset val="100"/>
        <c:baseTimeUnit val="months"/>
      </c:dateAx>
      <c:valAx>
        <c:axId val="3090693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 Light" panose="020F0302020204030204" pitchFamily="34" charset="0"/>
                <a:cs typeface="Aharoni" panose="02010803020104030203" pitchFamily="2" charset="-79"/>
              </a:defRPr>
            </a:pPr>
            <a:endParaRPr lang="hu-HU"/>
          </a:p>
        </c:txPr>
        <c:crossAx val="309067776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69305471195266455"/>
          <c:y val="1.1175025726102395E-2"/>
          <c:w val="0.29410530323108536"/>
          <c:h val="0.34153091902696958"/>
        </c:manualLayout>
      </c:layout>
      <c:overlay val="0"/>
      <c:txPr>
        <a:bodyPr/>
        <a:lstStyle/>
        <a:p>
          <a:pPr>
            <a:defRPr sz="1600">
              <a:latin typeface="Calibri Light" panose="020F0302020204030204" pitchFamily="34" charset="0"/>
            </a:defRPr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678393860737268E-2"/>
          <c:y val="0.13276354146309691"/>
          <c:w val="0.9262880341119123"/>
          <c:h val="0.65584143541137474"/>
        </c:manualLayout>
      </c:layout>
      <c:lineChart>
        <c:grouping val="standar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3 havi BUBOR</c:v>
                </c:pt>
              </c:strCache>
            </c:strRef>
          </c:tx>
          <c:spPr>
            <a:ln w="38100"/>
          </c:spPr>
          <c:marker>
            <c:symbol val="none"/>
          </c:marker>
          <c:cat>
            <c:numRef>
              <c:f>Munka1!$A$2:$A$4066</c:f>
              <c:numCache>
                <c:formatCode>mm/dd/yy</c:formatCode>
                <c:ptCount val="4065"/>
                <c:pt idx="0">
                  <c:v>36529</c:v>
                </c:pt>
                <c:pt idx="1">
                  <c:v>36530</c:v>
                </c:pt>
                <c:pt idx="2">
                  <c:v>36531</c:v>
                </c:pt>
                <c:pt idx="3">
                  <c:v>36532</c:v>
                </c:pt>
                <c:pt idx="4">
                  <c:v>36535</c:v>
                </c:pt>
                <c:pt idx="5">
                  <c:v>36536</c:v>
                </c:pt>
                <c:pt idx="6">
                  <c:v>36537</c:v>
                </c:pt>
                <c:pt idx="7">
                  <c:v>36538</c:v>
                </c:pt>
                <c:pt idx="8">
                  <c:v>36539</c:v>
                </c:pt>
                <c:pt idx="9">
                  <c:v>36542</c:v>
                </c:pt>
                <c:pt idx="10">
                  <c:v>36543</c:v>
                </c:pt>
                <c:pt idx="11">
                  <c:v>36544</c:v>
                </c:pt>
                <c:pt idx="12">
                  <c:v>36545</c:v>
                </c:pt>
                <c:pt idx="13">
                  <c:v>36546</c:v>
                </c:pt>
                <c:pt idx="14">
                  <c:v>36549</c:v>
                </c:pt>
                <c:pt idx="15">
                  <c:v>36550</c:v>
                </c:pt>
                <c:pt idx="16">
                  <c:v>36551</c:v>
                </c:pt>
                <c:pt idx="17">
                  <c:v>36552</c:v>
                </c:pt>
                <c:pt idx="18">
                  <c:v>36553</c:v>
                </c:pt>
                <c:pt idx="19">
                  <c:v>36557</c:v>
                </c:pt>
                <c:pt idx="20">
                  <c:v>36558</c:v>
                </c:pt>
                <c:pt idx="21">
                  <c:v>36559</c:v>
                </c:pt>
                <c:pt idx="22">
                  <c:v>36560</c:v>
                </c:pt>
                <c:pt idx="23">
                  <c:v>36563</c:v>
                </c:pt>
                <c:pt idx="24">
                  <c:v>36564</c:v>
                </c:pt>
                <c:pt idx="25">
                  <c:v>36565</c:v>
                </c:pt>
                <c:pt idx="26">
                  <c:v>36566</c:v>
                </c:pt>
                <c:pt idx="27">
                  <c:v>36567</c:v>
                </c:pt>
                <c:pt idx="28">
                  <c:v>36570</c:v>
                </c:pt>
                <c:pt idx="29">
                  <c:v>36571</c:v>
                </c:pt>
                <c:pt idx="30">
                  <c:v>36572</c:v>
                </c:pt>
                <c:pt idx="31">
                  <c:v>36573</c:v>
                </c:pt>
                <c:pt idx="32">
                  <c:v>36574</c:v>
                </c:pt>
                <c:pt idx="33">
                  <c:v>36577</c:v>
                </c:pt>
                <c:pt idx="34">
                  <c:v>36578</c:v>
                </c:pt>
                <c:pt idx="35">
                  <c:v>36579</c:v>
                </c:pt>
                <c:pt idx="36">
                  <c:v>36580</c:v>
                </c:pt>
                <c:pt idx="37">
                  <c:v>36581</c:v>
                </c:pt>
                <c:pt idx="38">
                  <c:v>36584</c:v>
                </c:pt>
                <c:pt idx="39">
                  <c:v>36585</c:v>
                </c:pt>
                <c:pt idx="40">
                  <c:v>36586</c:v>
                </c:pt>
                <c:pt idx="41">
                  <c:v>36587</c:v>
                </c:pt>
                <c:pt idx="42">
                  <c:v>36588</c:v>
                </c:pt>
                <c:pt idx="43">
                  <c:v>36591</c:v>
                </c:pt>
                <c:pt idx="44">
                  <c:v>36592</c:v>
                </c:pt>
                <c:pt idx="45">
                  <c:v>36593</c:v>
                </c:pt>
                <c:pt idx="46">
                  <c:v>36594</c:v>
                </c:pt>
                <c:pt idx="47">
                  <c:v>36595</c:v>
                </c:pt>
                <c:pt idx="48">
                  <c:v>36598</c:v>
                </c:pt>
                <c:pt idx="49">
                  <c:v>36599</c:v>
                </c:pt>
                <c:pt idx="50">
                  <c:v>36601</c:v>
                </c:pt>
                <c:pt idx="51">
                  <c:v>36602</c:v>
                </c:pt>
                <c:pt idx="52">
                  <c:v>36605</c:v>
                </c:pt>
                <c:pt idx="53">
                  <c:v>36606</c:v>
                </c:pt>
                <c:pt idx="54">
                  <c:v>36607</c:v>
                </c:pt>
                <c:pt idx="55">
                  <c:v>36608</c:v>
                </c:pt>
                <c:pt idx="56">
                  <c:v>36609</c:v>
                </c:pt>
                <c:pt idx="57">
                  <c:v>36612</c:v>
                </c:pt>
                <c:pt idx="58">
                  <c:v>36613</c:v>
                </c:pt>
                <c:pt idx="59">
                  <c:v>36614</c:v>
                </c:pt>
                <c:pt idx="60">
                  <c:v>36615</c:v>
                </c:pt>
                <c:pt idx="61">
                  <c:v>36616</c:v>
                </c:pt>
                <c:pt idx="62">
                  <c:v>36619</c:v>
                </c:pt>
                <c:pt idx="63">
                  <c:v>36620</c:v>
                </c:pt>
                <c:pt idx="64">
                  <c:v>36621</c:v>
                </c:pt>
                <c:pt idx="65">
                  <c:v>36622</c:v>
                </c:pt>
                <c:pt idx="66">
                  <c:v>36623</c:v>
                </c:pt>
                <c:pt idx="67">
                  <c:v>36626</c:v>
                </c:pt>
                <c:pt idx="68">
                  <c:v>36627</c:v>
                </c:pt>
                <c:pt idx="69">
                  <c:v>36628</c:v>
                </c:pt>
                <c:pt idx="70">
                  <c:v>36629</c:v>
                </c:pt>
                <c:pt idx="71">
                  <c:v>36630</c:v>
                </c:pt>
                <c:pt idx="72">
                  <c:v>36633</c:v>
                </c:pt>
                <c:pt idx="73">
                  <c:v>36634</c:v>
                </c:pt>
                <c:pt idx="74">
                  <c:v>36635</c:v>
                </c:pt>
                <c:pt idx="75">
                  <c:v>36636</c:v>
                </c:pt>
                <c:pt idx="76">
                  <c:v>36637</c:v>
                </c:pt>
                <c:pt idx="77">
                  <c:v>36641</c:v>
                </c:pt>
                <c:pt idx="78">
                  <c:v>36642</c:v>
                </c:pt>
                <c:pt idx="79">
                  <c:v>36643</c:v>
                </c:pt>
                <c:pt idx="80">
                  <c:v>36644</c:v>
                </c:pt>
                <c:pt idx="81">
                  <c:v>36648</c:v>
                </c:pt>
                <c:pt idx="82">
                  <c:v>36649</c:v>
                </c:pt>
                <c:pt idx="83">
                  <c:v>36650</c:v>
                </c:pt>
                <c:pt idx="84">
                  <c:v>36651</c:v>
                </c:pt>
                <c:pt idx="85">
                  <c:v>36654</c:v>
                </c:pt>
                <c:pt idx="86">
                  <c:v>36655</c:v>
                </c:pt>
                <c:pt idx="87">
                  <c:v>36656</c:v>
                </c:pt>
                <c:pt idx="88">
                  <c:v>36657</c:v>
                </c:pt>
                <c:pt idx="89">
                  <c:v>36658</c:v>
                </c:pt>
                <c:pt idx="90">
                  <c:v>36661</c:v>
                </c:pt>
                <c:pt idx="91">
                  <c:v>36662</c:v>
                </c:pt>
                <c:pt idx="92">
                  <c:v>36663</c:v>
                </c:pt>
                <c:pt idx="93">
                  <c:v>36664</c:v>
                </c:pt>
                <c:pt idx="94">
                  <c:v>36665</c:v>
                </c:pt>
                <c:pt idx="95">
                  <c:v>36668</c:v>
                </c:pt>
                <c:pt idx="96">
                  <c:v>36669</c:v>
                </c:pt>
                <c:pt idx="97">
                  <c:v>36670</c:v>
                </c:pt>
                <c:pt idx="98">
                  <c:v>36671</c:v>
                </c:pt>
                <c:pt idx="99">
                  <c:v>36672</c:v>
                </c:pt>
                <c:pt idx="100">
                  <c:v>36675</c:v>
                </c:pt>
                <c:pt idx="101">
                  <c:v>36676</c:v>
                </c:pt>
                <c:pt idx="102">
                  <c:v>36677</c:v>
                </c:pt>
                <c:pt idx="103">
                  <c:v>36678</c:v>
                </c:pt>
                <c:pt idx="104">
                  <c:v>36679</c:v>
                </c:pt>
                <c:pt idx="105">
                  <c:v>36682</c:v>
                </c:pt>
                <c:pt idx="106">
                  <c:v>36683</c:v>
                </c:pt>
                <c:pt idx="107">
                  <c:v>36684</c:v>
                </c:pt>
                <c:pt idx="108">
                  <c:v>36685</c:v>
                </c:pt>
                <c:pt idx="109">
                  <c:v>36686</c:v>
                </c:pt>
                <c:pt idx="110">
                  <c:v>36690</c:v>
                </c:pt>
                <c:pt idx="111">
                  <c:v>36691</c:v>
                </c:pt>
                <c:pt idx="112">
                  <c:v>36692</c:v>
                </c:pt>
                <c:pt idx="113">
                  <c:v>36693</c:v>
                </c:pt>
                <c:pt idx="114">
                  <c:v>36696</c:v>
                </c:pt>
                <c:pt idx="115">
                  <c:v>36697</c:v>
                </c:pt>
                <c:pt idx="116">
                  <c:v>36698</c:v>
                </c:pt>
                <c:pt idx="117">
                  <c:v>36699</c:v>
                </c:pt>
                <c:pt idx="118">
                  <c:v>36700</c:v>
                </c:pt>
                <c:pt idx="119">
                  <c:v>36703</c:v>
                </c:pt>
                <c:pt idx="120">
                  <c:v>36704</c:v>
                </c:pt>
                <c:pt idx="121">
                  <c:v>36705</c:v>
                </c:pt>
                <c:pt idx="122">
                  <c:v>36706</c:v>
                </c:pt>
                <c:pt idx="123">
                  <c:v>36707</c:v>
                </c:pt>
                <c:pt idx="124">
                  <c:v>36710</c:v>
                </c:pt>
                <c:pt idx="125">
                  <c:v>36711</c:v>
                </c:pt>
                <c:pt idx="126">
                  <c:v>36712</c:v>
                </c:pt>
                <c:pt idx="127">
                  <c:v>36713</c:v>
                </c:pt>
                <c:pt idx="128">
                  <c:v>36714</c:v>
                </c:pt>
                <c:pt idx="129">
                  <c:v>36717</c:v>
                </c:pt>
                <c:pt idx="130">
                  <c:v>36718</c:v>
                </c:pt>
                <c:pt idx="131">
                  <c:v>36719</c:v>
                </c:pt>
                <c:pt idx="132">
                  <c:v>36720</c:v>
                </c:pt>
                <c:pt idx="133">
                  <c:v>36721</c:v>
                </c:pt>
                <c:pt idx="134">
                  <c:v>36724</c:v>
                </c:pt>
                <c:pt idx="135">
                  <c:v>36725</c:v>
                </c:pt>
                <c:pt idx="136">
                  <c:v>36726</c:v>
                </c:pt>
                <c:pt idx="137">
                  <c:v>36727</c:v>
                </c:pt>
                <c:pt idx="138">
                  <c:v>36728</c:v>
                </c:pt>
                <c:pt idx="139">
                  <c:v>36731</c:v>
                </c:pt>
                <c:pt idx="140">
                  <c:v>36732</c:v>
                </c:pt>
                <c:pt idx="141">
                  <c:v>36733</c:v>
                </c:pt>
                <c:pt idx="142">
                  <c:v>36734</c:v>
                </c:pt>
                <c:pt idx="143">
                  <c:v>36735</c:v>
                </c:pt>
                <c:pt idx="144">
                  <c:v>36738</c:v>
                </c:pt>
                <c:pt idx="145">
                  <c:v>36739</c:v>
                </c:pt>
                <c:pt idx="146">
                  <c:v>36740</c:v>
                </c:pt>
                <c:pt idx="147">
                  <c:v>36741</c:v>
                </c:pt>
                <c:pt idx="148">
                  <c:v>36742</c:v>
                </c:pt>
                <c:pt idx="149">
                  <c:v>36745</c:v>
                </c:pt>
                <c:pt idx="150">
                  <c:v>36746</c:v>
                </c:pt>
                <c:pt idx="151">
                  <c:v>36747</c:v>
                </c:pt>
                <c:pt idx="152">
                  <c:v>36748</c:v>
                </c:pt>
                <c:pt idx="153">
                  <c:v>36749</c:v>
                </c:pt>
                <c:pt idx="154">
                  <c:v>36752</c:v>
                </c:pt>
                <c:pt idx="155">
                  <c:v>36753</c:v>
                </c:pt>
                <c:pt idx="156">
                  <c:v>36754</c:v>
                </c:pt>
                <c:pt idx="157">
                  <c:v>36755</c:v>
                </c:pt>
                <c:pt idx="158">
                  <c:v>36756</c:v>
                </c:pt>
                <c:pt idx="159">
                  <c:v>36759</c:v>
                </c:pt>
                <c:pt idx="160">
                  <c:v>36760</c:v>
                </c:pt>
                <c:pt idx="161">
                  <c:v>36761</c:v>
                </c:pt>
                <c:pt idx="162">
                  <c:v>36762</c:v>
                </c:pt>
                <c:pt idx="163">
                  <c:v>36763</c:v>
                </c:pt>
                <c:pt idx="164">
                  <c:v>36766</c:v>
                </c:pt>
                <c:pt idx="165">
                  <c:v>36767</c:v>
                </c:pt>
                <c:pt idx="166">
                  <c:v>36768</c:v>
                </c:pt>
                <c:pt idx="167">
                  <c:v>36769</c:v>
                </c:pt>
                <c:pt idx="168">
                  <c:v>36770</c:v>
                </c:pt>
                <c:pt idx="169">
                  <c:v>36773</c:v>
                </c:pt>
                <c:pt idx="170">
                  <c:v>36774</c:v>
                </c:pt>
                <c:pt idx="171">
                  <c:v>36775</c:v>
                </c:pt>
                <c:pt idx="172">
                  <c:v>36776</c:v>
                </c:pt>
                <c:pt idx="173">
                  <c:v>36777</c:v>
                </c:pt>
                <c:pt idx="174">
                  <c:v>36780</c:v>
                </c:pt>
                <c:pt idx="175">
                  <c:v>36781</c:v>
                </c:pt>
                <c:pt idx="176">
                  <c:v>36782</c:v>
                </c:pt>
                <c:pt idx="177">
                  <c:v>36783</c:v>
                </c:pt>
                <c:pt idx="178">
                  <c:v>36784</c:v>
                </c:pt>
                <c:pt idx="179">
                  <c:v>36787</c:v>
                </c:pt>
                <c:pt idx="180">
                  <c:v>36788</c:v>
                </c:pt>
                <c:pt idx="181">
                  <c:v>36789</c:v>
                </c:pt>
                <c:pt idx="182">
                  <c:v>36790</c:v>
                </c:pt>
                <c:pt idx="183">
                  <c:v>36791</c:v>
                </c:pt>
                <c:pt idx="184">
                  <c:v>36794</c:v>
                </c:pt>
                <c:pt idx="185">
                  <c:v>36795</c:v>
                </c:pt>
                <c:pt idx="186">
                  <c:v>36796</c:v>
                </c:pt>
                <c:pt idx="187">
                  <c:v>36797</c:v>
                </c:pt>
                <c:pt idx="188">
                  <c:v>36798</c:v>
                </c:pt>
                <c:pt idx="189">
                  <c:v>36801</c:v>
                </c:pt>
                <c:pt idx="190">
                  <c:v>36802</c:v>
                </c:pt>
                <c:pt idx="191">
                  <c:v>36803</c:v>
                </c:pt>
                <c:pt idx="192">
                  <c:v>36804</c:v>
                </c:pt>
                <c:pt idx="193">
                  <c:v>36805</c:v>
                </c:pt>
                <c:pt idx="194">
                  <c:v>36808</c:v>
                </c:pt>
                <c:pt idx="195">
                  <c:v>36809</c:v>
                </c:pt>
                <c:pt idx="196">
                  <c:v>36810</c:v>
                </c:pt>
                <c:pt idx="197">
                  <c:v>36811</c:v>
                </c:pt>
                <c:pt idx="198">
                  <c:v>36812</c:v>
                </c:pt>
                <c:pt idx="199">
                  <c:v>36815</c:v>
                </c:pt>
                <c:pt idx="200">
                  <c:v>36816</c:v>
                </c:pt>
                <c:pt idx="201">
                  <c:v>36817</c:v>
                </c:pt>
                <c:pt idx="202">
                  <c:v>36818</c:v>
                </c:pt>
                <c:pt idx="203">
                  <c:v>36819</c:v>
                </c:pt>
                <c:pt idx="204">
                  <c:v>36823</c:v>
                </c:pt>
                <c:pt idx="205">
                  <c:v>36824</c:v>
                </c:pt>
                <c:pt idx="206">
                  <c:v>36825</c:v>
                </c:pt>
                <c:pt idx="207">
                  <c:v>36826</c:v>
                </c:pt>
                <c:pt idx="208">
                  <c:v>36829</c:v>
                </c:pt>
                <c:pt idx="209">
                  <c:v>36830</c:v>
                </c:pt>
                <c:pt idx="210">
                  <c:v>36832</c:v>
                </c:pt>
                <c:pt idx="211">
                  <c:v>36833</c:v>
                </c:pt>
                <c:pt idx="212">
                  <c:v>36836</c:v>
                </c:pt>
                <c:pt idx="213">
                  <c:v>36837</c:v>
                </c:pt>
                <c:pt idx="214">
                  <c:v>36838</c:v>
                </c:pt>
                <c:pt idx="215">
                  <c:v>36839</c:v>
                </c:pt>
                <c:pt idx="216">
                  <c:v>36840</c:v>
                </c:pt>
                <c:pt idx="217">
                  <c:v>36843</c:v>
                </c:pt>
                <c:pt idx="218">
                  <c:v>36844</c:v>
                </c:pt>
                <c:pt idx="219">
                  <c:v>36845</c:v>
                </c:pt>
                <c:pt idx="220">
                  <c:v>36846</c:v>
                </c:pt>
                <c:pt idx="221">
                  <c:v>36847</c:v>
                </c:pt>
                <c:pt idx="222">
                  <c:v>36850</c:v>
                </c:pt>
                <c:pt idx="223">
                  <c:v>36851</c:v>
                </c:pt>
                <c:pt idx="224">
                  <c:v>36852</c:v>
                </c:pt>
                <c:pt idx="225">
                  <c:v>36853</c:v>
                </c:pt>
                <c:pt idx="226">
                  <c:v>36854</c:v>
                </c:pt>
                <c:pt idx="227">
                  <c:v>36857</c:v>
                </c:pt>
                <c:pt idx="228">
                  <c:v>36858</c:v>
                </c:pt>
                <c:pt idx="229">
                  <c:v>36859</c:v>
                </c:pt>
                <c:pt idx="230">
                  <c:v>36860</c:v>
                </c:pt>
                <c:pt idx="231">
                  <c:v>36861</c:v>
                </c:pt>
                <c:pt idx="232">
                  <c:v>36864</c:v>
                </c:pt>
                <c:pt idx="233">
                  <c:v>36865</c:v>
                </c:pt>
                <c:pt idx="234">
                  <c:v>36866</c:v>
                </c:pt>
                <c:pt idx="235">
                  <c:v>36867</c:v>
                </c:pt>
                <c:pt idx="236">
                  <c:v>36868</c:v>
                </c:pt>
                <c:pt idx="237">
                  <c:v>36871</c:v>
                </c:pt>
                <c:pt idx="238">
                  <c:v>36872</c:v>
                </c:pt>
                <c:pt idx="239">
                  <c:v>36873</c:v>
                </c:pt>
                <c:pt idx="240">
                  <c:v>36874</c:v>
                </c:pt>
                <c:pt idx="241">
                  <c:v>36875</c:v>
                </c:pt>
                <c:pt idx="242">
                  <c:v>36878</c:v>
                </c:pt>
                <c:pt idx="243">
                  <c:v>36879</c:v>
                </c:pt>
                <c:pt idx="244">
                  <c:v>36880</c:v>
                </c:pt>
                <c:pt idx="245">
                  <c:v>36881</c:v>
                </c:pt>
                <c:pt idx="246">
                  <c:v>36882</c:v>
                </c:pt>
                <c:pt idx="247">
                  <c:v>36887</c:v>
                </c:pt>
                <c:pt idx="248">
                  <c:v>36888</c:v>
                </c:pt>
                <c:pt idx="249">
                  <c:v>36889</c:v>
                </c:pt>
                <c:pt idx="250" formatCode="d\-mmm\-yy">
                  <c:v>36893</c:v>
                </c:pt>
                <c:pt idx="251" formatCode="d\-mmm\-yy">
                  <c:v>36894</c:v>
                </c:pt>
                <c:pt idx="252" formatCode="d\-mmm\-yy">
                  <c:v>36895</c:v>
                </c:pt>
                <c:pt idx="253" formatCode="d\-mmm\-yy">
                  <c:v>36896</c:v>
                </c:pt>
                <c:pt idx="254" formatCode="d\-mmm\-yy">
                  <c:v>36899</c:v>
                </c:pt>
                <c:pt idx="255" formatCode="d\-mmm\-yy">
                  <c:v>36900</c:v>
                </c:pt>
                <c:pt idx="256" formatCode="d\-mmm\-yy">
                  <c:v>36901</c:v>
                </c:pt>
                <c:pt idx="257" formatCode="d\-mmm\-yy">
                  <c:v>36902</c:v>
                </c:pt>
                <c:pt idx="258" formatCode="d\-mmm\-yy">
                  <c:v>36903</c:v>
                </c:pt>
                <c:pt idx="259" formatCode="d\-mmm\-yy">
                  <c:v>36906</c:v>
                </c:pt>
                <c:pt idx="260" formatCode="d\-mmm\-yy">
                  <c:v>36907</c:v>
                </c:pt>
                <c:pt idx="261" formatCode="d\-mmm\-yy">
                  <c:v>36908</c:v>
                </c:pt>
                <c:pt idx="262" formatCode="d\-mmm\-yy">
                  <c:v>36909</c:v>
                </c:pt>
                <c:pt idx="263" formatCode="d\-mmm\-yy">
                  <c:v>36910</c:v>
                </c:pt>
                <c:pt idx="264" formatCode="d\-mmm\-yy">
                  <c:v>36913</c:v>
                </c:pt>
                <c:pt idx="265" formatCode="d\-mmm\-yy">
                  <c:v>36914</c:v>
                </c:pt>
                <c:pt idx="266" formatCode="d\-mmm\-yy">
                  <c:v>36915</c:v>
                </c:pt>
                <c:pt idx="267" formatCode="d\-mmm\-yy">
                  <c:v>36916</c:v>
                </c:pt>
                <c:pt idx="268" formatCode="d\-mmm\-yy">
                  <c:v>36917</c:v>
                </c:pt>
                <c:pt idx="269" formatCode="d\-mmm\-yy">
                  <c:v>36920</c:v>
                </c:pt>
                <c:pt idx="270" formatCode="d\-mmm\-yy">
                  <c:v>36921</c:v>
                </c:pt>
                <c:pt idx="271" formatCode="d\-mmm\-yy">
                  <c:v>36922</c:v>
                </c:pt>
                <c:pt idx="272" formatCode="d\-mmm\-yy">
                  <c:v>36923</c:v>
                </c:pt>
                <c:pt idx="273" formatCode="d\-mmm\-yy">
                  <c:v>36924</c:v>
                </c:pt>
                <c:pt idx="274" formatCode="d\-mmm\-yy">
                  <c:v>36927</c:v>
                </c:pt>
                <c:pt idx="275" formatCode="d\-mmm\-yy">
                  <c:v>36928</c:v>
                </c:pt>
                <c:pt idx="276" formatCode="d\-mmm\-yy">
                  <c:v>36929</c:v>
                </c:pt>
                <c:pt idx="277" formatCode="d\-mmm\-yy">
                  <c:v>36930</c:v>
                </c:pt>
                <c:pt idx="278" formatCode="d\-mmm\-yy">
                  <c:v>36931</c:v>
                </c:pt>
                <c:pt idx="279" formatCode="d\-mmm\-yy">
                  <c:v>36934</c:v>
                </c:pt>
                <c:pt idx="280" formatCode="d\-mmm\-yy">
                  <c:v>36935</c:v>
                </c:pt>
                <c:pt idx="281" formatCode="d\-mmm\-yy">
                  <c:v>36936</c:v>
                </c:pt>
                <c:pt idx="282" formatCode="d\-mmm\-yy">
                  <c:v>36937</c:v>
                </c:pt>
                <c:pt idx="283" formatCode="d\-mmm\-yy">
                  <c:v>36938</c:v>
                </c:pt>
                <c:pt idx="284" formatCode="d\-mmm\-yy">
                  <c:v>36941</c:v>
                </c:pt>
                <c:pt idx="285" formatCode="d\-mmm\-yy">
                  <c:v>36942</c:v>
                </c:pt>
                <c:pt idx="286" formatCode="d\-mmm\-yy">
                  <c:v>36943</c:v>
                </c:pt>
                <c:pt idx="287" formatCode="d\-mmm\-yy">
                  <c:v>36944</c:v>
                </c:pt>
                <c:pt idx="288" formatCode="d\-mmm\-yy">
                  <c:v>36945</c:v>
                </c:pt>
                <c:pt idx="289" formatCode="d\-mmm\-yy">
                  <c:v>36948</c:v>
                </c:pt>
                <c:pt idx="290" formatCode="d\-mmm\-yy">
                  <c:v>36949</c:v>
                </c:pt>
                <c:pt idx="291" formatCode="d\-mmm\-yy">
                  <c:v>36950</c:v>
                </c:pt>
                <c:pt idx="292" formatCode="d\-mmm\-yy">
                  <c:v>36951</c:v>
                </c:pt>
                <c:pt idx="293" formatCode="d\-mmm\-yy">
                  <c:v>36952</c:v>
                </c:pt>
                <c:pt idx="294" formatCode="d\-mmm\-yy">
                  <c:v>36955</c:v>
                </c:pt>
                <c:pt idx="295" formatCode="d\-mmm\-yy">
                  <c:v>36956</c:v>
                </c:pt>
                <c:pt idx="296" formatCode="d\-mmm\-yy">
                  <c:v>36957</c:v>
                </c:pt>
                <c:pt idx="297" formatCode="d\-mmm\-yy">
                  <c:v>36958</c:v>
                </c:pt>
                <c:pt idx="298" formatCode="d\-mmm\-yy">
                  <c:v>36959</c:v>
                </c:pt>
                <c:pt idx="299" formatCode="d\-mmm\-yy">
                  <c:v>36960</c:v>
                </c:pt>
                <c:pt idx="300" formatCode="d\-mmm\-yy">
                  <c:v>36962</c:v>
                </c:pt>
                <c:pt idx="301" formatCode="d\-mmm\-yy">
                  <c:v>36963</c:v>
                </c:pt>
                <c:pt idx="302" formatCode="d\-mmm\-yy">
                  <c:v>36964</c:v>
                </c:pt>
                <c:pt idx="303" formatCode="d\-mmm\-yy">
                  <c:v>36969</c:v>
                </c:pt>
                <c:pt idx="304" formatCode="d\-mmm\-yy">
                  <c:v>36970</c:v>
                </c:pt>
                <c:pt idx="305" formatCode="d\-mmm\-yy">
                  <c:v>36971</c:v>
                </c:pt>
                <c:pt idx="306" formatCode="d\-mmm\-yy">
                  <c:v>36972</c:v>
                </c:pt>
                <c:pt idx="307" formatCode="d\-mmm\-yy">
                  <c:v>36973</c:v>
                </c:pt>
                <c:pt idx="308" formatCode="d\-mmm\-yy">
                  <c:v>36976</c:v>
                </c:pt>
                <c:pt idx="309" formatCode="d\-mmm\-yy">
                  <c:v>36977</c:v>
                </c:pt>
                <c:pt idx="310" formatCode="d\-mmm\-yy">
                  <c:v>36978</c:v>
                </c:pt>
                <c:pt idx="311" formatCode="d\-mmm\-yy">
                  <c:v>36979</c:v>
                </c:pt>
                <c:pt idx="312" formatCode="d\-mmm\-yy">
                  <c:v>36980</c:v>
                </c:pt>
                <c:pt idx="313" formatCode="d\-mmm\-yy">
                  <c:v>36983</c:v>
                </c:pt>
                <c:pt idx="314" formatCode="d\-mmm\-yy">
                  <c:v>36984</c:v>
                </c:pt>
                <c:pt idx="315" formatCode="d\-mmm\-yy">
                  <c:v>36985</c:v>
                </c:pt>
                <c:pt idx="316" formatCode="d\-mmm\-yy">
                  <c:v>36986</c:v>
                </c:pt>
                <c:pt idx="317" formatCode="d\-mmm\-yy">
                  <c:v>36987</c:v>
                </c:pt>
                <c:pt idx="318" formatCode="d\-mmm\-yy">
                  <c:v>36990</c:v>
                </c:pt>
                <c:pt idx="319" formatCode="d\-mmm\-yy">
                  <c:v>36991</c:v>
                </c:pt>
                <c:pt idx="320" formatCode="d\-mmm\-yy">
                  <c:v>36992</c:v>
                </c:pt>
                <c:pt idx="321" formatCode="d\-mmm\-yy">
                  <c:v>36993</c:v>
                </c:pt>
                <c:pt idx="322" formatCode="d\-mmm\-yy">
                  <c:v>36994</c:v>
                </c:pt>
                <c:pt idx="323" formatCode="d\-mmm\-yy">
                  <c:v>36998</c:v>
                </c:pt>
                <c:pt idx="324" formatCode="d\-mmm\-yy">
                  <c:v>36999</c:v>
                </c:pt>
                <c:pt idx="325" formatCode="d\-mmm\-yy">
                  <c:v>37000</c:v>
                </c:pt>
                <c:pt idx="326" formatCode="d\-mmm\-yy">
                  <c:v>37001</c:v>
                </c:pt>
                <c:pt idx="327" formatCode="d\-mmm\-yy">
                  <c:v>37004</c:v>
                </c:pt>
                <c:pt idx="328" formatCode="d\-mmm\-yy">
                  <c:v>37005</c:v>
                </c:pt>
                <c:pt idx="329" formatCode="d\-mmm\-yy">
                  <c:v>37006</c:v>
                </c:pt>
                <c:pt idx="330" formatCode="d\-mmm\-yy">
                  <c:v>37007</c:v>
                </c:pt>
                <c:pt idx="331" formatCode="d\-mmm\-yy">
                  <c:v>37008</c:v>
                </c:pt>
                <c:pt idx="332" formatCode="d\-mmm\-yy">
                  <c:v>37009</c:v>
                </c:pt>
                <c:pt idx="333" formatCode="d\-mmm\-yy">
                  <c:v>37013</c:v>
                </c:pt>
                <c:pt idx="334" formatCode="d\-mmm\-yy">
                  <c:v>37014</c:v>
                </c:pt>
                <c:pt idx="335" formatCode="d\-mmm\-yy">
                  <c:v>37015</c:v>
                </c:pt>
                <c:pt idx="336" formatCode="d\-mmm\-yy">
                  <c:v>37018</c:v>
                </c:pt>
                <c:pt idx="337" formatCode="d\-mmm\-yy">
                  <c:v>37019</c:v>
                </c:pt>
                <c:pt idx="338" formatCode="d\-mmm\-yy">
                  <c:v>37020</c:v>
                </c:pt>
                <c:pt idx="339" formatCode="d\-mmm\-yy">
                  <c:v>37021</c:v>
                </c:pt>
                <c:pt idx="340" formatCode="d\-mmm\-yy">
                  <c:v>37022</c:v>
                </c:pt>
                <c:pt idx="341" formatCode="d\-mmm\-yy">
                  <c:v>37025</c:v>
                </c:pt>
                <c:pt idx="342" formatCode="d\-mmm\-yy">
                  <c:v>37026</c:v>
                </c:pt>
                <c:pt idx="343" formatCode="d\-mmm\-yy">
                  <c:v>37027</c:v>
                </c:pt>
                <c:pt idx="344" formatCode="d\-mmm\-yy">
                  <c:v>37028</c:v>
                </c:pt>
                <c:pt idx="345" formatCode="d\-mmm\-yy">
                  <c:v>37029</c:v>
                </c:pt>
                <c:pt idx="346" formatCode="d\-mmm\-yy">
                  <c:v>37032</c:v>
                </c:pt>
                <c:pt idx="347" formatCode="d\-mmm\-yy">
                  <c:v>37033</c:v>
                </c:pt>
                <c:pt idx="348" formatCode="d\-mmm\-yy">
                  <c:v>37034</c:v>
                </c:pt>
                <c:pt idx="349" formatCode="d\-mmm\-yy">
                  <c:v>37035</c:v>
                </c:pt>
                <c:pt idx="350" formatCode="d\-mmm\-yy">
                  <c:v>37036</c:v>
                </c:pt>
                <c:pt idx="351" formatCode="d\-mmm\-yy">
                  <c:v>37039</c:v>
                </c:pt>
                <c:pt idx="352" formatCode="d\-mmm\-yy">
                  <c:v>37040</c:v>
                </c:pt>
                <c:pt idx="353" formatCode="d\-mmm\-yy">
                  <c:v>37041</c:v>
                </c:pt>
                <c:pt idx="354" formatCode="d\-mmm\-yy">
                  <c:v>37042</c:v>
                </c:pt>
                <c:pt idx="355" formatCode="d\-mmm\-yy">
                  <c:v>37043</c:v>
                </c:pt>
                <c:pt idx="356" formatCode="d\-mmm\-yy">
                  <c:v>37047</c:v>
                </c:pt>
                <c:pt idx="357" formatCode="d\-mmm\-yy">
                  <c:v>37048</c:v>
                </c:pt>
                <c:pt idx="358" formatCode="d\-mmm\-yy">
                  <c:v>37049</c:v>
                </c:pt>
                <c:pt idx="359" formatCode="d\-mmm\-yy">
                  <c:v>37050</c:v>
                </c:pt>
                <c:pt idx="360" formatCode="d\-mmm\-yy">
                  <c:v>37053</c:v>
                </c:pt>
                <c:pt idx="361" formatCode="d\-mmm\-yy">
                  <c:v>37054</c:v>
                </c:pt>
                <c:pt idx="362" formatCode="d\-mmm\-yy">
                  <c:v>37055</c:v>
                </c:pt>
                <c:pt idx="363" formatCode="d\-mmm\-yy">
                  <c:v>37056</c:v>
                </c:pt>
                <c:pt idx="364" formatCode="d\-mmm\-yy">
                  <c:v>37057</c:v>
                </c:pt>
                <c:pt idx="365" formatCode="d\-mmm\-yy">
                  <c:v>37060</c:v>
                </c:pt>
                <c:pt idx="366" formatCode="d\-mmm\-yy">
                  <c:v>37061</c:v>
                </c:pt>
                <c:pt idx="367" formatCode="d\-mmm\-yy">
                  <c:v>37062</c:v>
                </c:pt>
                <c:pt idx="368" formatCode="d\-mmm\-yy">
                  <c:v>37063</c:v>
                </c:pt>
                <c:pt idx="369" formatCode="d\-mmm\-yy">
                  <c:v>37064</c:v>
                </c:pt>
                <c:pt idx="370" formatCode="d\-mmm\-yy">
                  <c:v>37067</c:v>
                </c:pt>
                <c:pt idx="371" formatCode="d\-mmm\-yy">
                  <c:v>37068</c:v>
                </c:pt>
                <c:pt idx="372" formatCode="d\-mmm\-yy">
                  <c:v>37069</c:v>
                </c:pt>
                <c:pt idx="373" formatCode="d\-mmm\-yy">
                  <c:v>37070</c:v>
                </c:pt>
                <c:pt idx="374" formatCode="d\-mmm\-yy">
                  <c:v>37071</c:v>
                </c:pt>
                <c:pt idx="375" formatCode="d\-mmm\-yy">
                  <c:v>37074</c:v>
                </c:pt>
                <c:pt idx="376" formatCode="d\-mmm\-yy">
                  <c:v>37075</c:v>
                </c:pt>
                <c:pt idx="377" formatCode="d\-mmm\-yy">
                  <c:v>37076</c:v>
                </c:pt>
                <c:pt idx="378" formatCode="d\-mmm\-yy">
                  <c:v>37077</c:v>
                </c:pt>
                <c:pt idx="379" formatCode="d\-mmm\-yy">
                  <c:v>37078</c:v>
                </c:pt>
                <c:pt idx="380" formatCode="d\-mmm\-yy">
                  <c:v>37081</c:v>
                </c:pt>
                <c:pt idx="381" formatCode="d\-mmm\-yy">
                  <c:v>37082</c:v>
                </c:pt>
                <c:pt idx="382" formatCode="d\-mmm\-yy">
                  <c:v>37083</c:v>
                </c:pt>
                <c:pt idx="383" formatCode="d\-mmm\-yy">
                  <c:v>37084</c:v>
                </c:pt>
                <c:pt idx="384" formatCode="d\-mmm\-yy">
                  <c:v>37085</c:v>
                </c:pt>
                <c:pt idx="385" formatCode="d\-mmm\-yy">
                  <c:v>37088</c:v>
                </c:pt>
                <c:pt idx="386" formatCode="d\-mmm\-yy">
                  <c:v>37089</c:v>
                </c:pt>
                <c:pt idx="387" formatCode="d\-mmm\-yy">
                  <c:v>37090</c:v>
                </c:pt>
                <c:pt idx="388" formatCode="d\-mmm\-yy">
                  <c:v>37091</c:v>
                </c:pt>
                <c:pt idx="389" formatCode="d\-mmm\-yy">
                  <c:v>37092</c:v>
                </c:pt>
                <c:pt idx="390" formatCode="d\-mmm\-yy">
                  <c:v>37095</c:v>
                </c:pt>
                <c:pt idx="391" formatCode="d\-mmm\-yy">
                  <c:v>37096</c:v>
                </c:pt>
                <c:pt idx="392" formatCode="d\-mmm\-yy">
                  <c:v>37097</c:v>
                </c:pt>
                <c:pt idx="393" formatCode="d\-mmm\-yy">
                  <c:v>37098</c:v>
                </c:pt>
                <c:pt idx="394" formatCode="d\-mmm\-yy">
                  <c:v>37099</c:v>
                </c:pt>
                <c:pt idx="395" formatCode="d\-mmm\-yy">
                  <c:v>37102</c:v>
                </c:pt>
                <c:pt idx="396" formatCode="d\-mmm\-yy">
                  <c:v>37103</c:v>
                </c:pt>
                <c:pt idx="397" formatCode="d\-mmm\-yy">
                  <c:v>37104</c:v>
                </c:pt>
                <c:pt idx="398" formatCode="d\-mmm\-yy">
                  <c:v>37105</c:v>
                </c:pt>
                <c:pt idx="399" formatCode="d\-mmm\-yy">
                  <c:v>37106</c:v>
                </c:pt>
                <c:pt idx="400" formatCode="d\-mmm\-yy">
                  <c:v>37109</c:v>
                </c:pt>
                <c:pt idx="401" formatCode="d\-mmm\-yy">
                  <c:v>37110</c:v>
                </c:pt>
                <c:pt idx="402" formatCode="d\-mmm\-yy">
                  <c:v>37111</c:v>
                </c:pt>
                <c:pt idx="403" formatCode="d\-mmm\-yy">
                  <c:v>37112</c:v>
                </c:pt>
                <c:pt idx="404" formatCode="d\-mmm\-yy">
                  <c:v>37113</c:v>
                </c:pt>
                <c:pt idx="405" formatCode="d\-mmm\-yy">
                  <c:v>37116</c:v>
                </c:pt>
                <c:pt idx="406" formatCode="d\-mmm\-yy">
                  <c:v>37117</c:v>
                </c:pt>
                <c:pt idx="407" formatCode="d\-mmm\-yy">
                  <c:v>37118</c:v>
                </c:pt>
                <c:pt idx="408" formatCode="d\-mmm\-yy">
                  <c:v>37119</c:v>
                </c:pt>
                <c:pt idx="409" formatCode="d\-mmm\-yy">
                  <c:v>37120</c:v>
                </c:pt>
                <c:pt idx="410" formatCode="d\-mmm\-yy">
                  <c:v>37124</c:v>
                </c:pt>
                <c:pt idx="411" formatCode="d\-mmm\-yy">
                  <c:v>37125</c:v>
                </c:pt>
                <c:pt idx="412" formatCode="d\-mmm\-yy">
                  <c:v>37126</c:v>
                </c:pt>
                <c:pt idx="413" formatCode="d\-mmm\-yy">
                  <c:v>37127</c:v>
                </c:pt>
                <c:pt idx="414" formatCode="d\-mmm\-yy">
                  <c:v>37130</c:v>
                </c:pt>
                <c:pt idx="415" formatCode="d\-mmm\-yy">
                  <c:v>37131</c:v>
                </c:pt>
                <c:pt idx="416" formatCode="d\-mmm\-yy">
                  <c:v>37132</c:v>
                </c:pt>
                <c:pt idx="417" formatCode="d\-mmm\-yy">
                  <c:v>37133</c:v>
                </c:pt>
                <c:pt idx="418" formatCode="d\-mmm\-yy">
                  <c:v>37134</c:v>
                </c:pt>
                <c:pt idx="419" formatCode="d\-mmm\-yy">
                  <c:v>37137</c:v>
                </c:pt>
                <c:pt idx="420" formatCode="d\-mmm\-yy">
                  <c:v>37138</c:v>
                </c:pt>
                <c:pt idx="421" formatCode="d\-mmm\-yy">
                  <c:v>37139</c:v>
                </c:pt>
                <c:pt idx="422" formatCode="d\-mmm\-yy">
                  <c:v>37140</c:v>
                </c:pt>
                <c:pt idx="423" formatCode="d\-mmm\-yy">
                  <c:v>37141</c:v>
                </c:pt>
                <c:pt idx="424" formatCode="d\-mmm\-yy">
                  <c:v>37144</c:v>
                </c:pt>
                <c:pt idx="425" formatCode="d\-mmm\-yy">
                  <c:v>37145</c:v>
                </c:pt>
                <c:pt idx="426" formatCode="d\-mmm\-yy">
                  <c:v>37146</c:v>
                </c:pt>
                <c:pt idx="427" formatCode="d\-mmm\-yy">
                  <c:v>37147</c:v>
                </c:pt>
                <c:pt idx="428" formatCode="d\-mmm\-yy">
                  <c:v>37148</c:v>
                </c:pt>
                <c:pt idx="429" formatCode="d\-mmm\-yy">
                  <c:v>37151</c:v>
                </c:pt>
                <c:pt idx="430" formatCode="d\-mmm\-yy">
                  <c:v>37152</c:v>
                </c:pt>
                <c:pt idx="431" formatCode="d\-mmm\-yy">
                  <c:v>37153</c:v>
                </c:pt>
                <c:pt idx="432" formatCode="d\-mmm\-yy">
                  <c:v>37154</c:v>
                </c:pt>
                <c:pt idx="433" formatCode="d\-mmm\-yy">
                  <c:v>37155</c:v>
                </c:pt>
                <c:pt idx="434" formatCode="d\-mmm\-yy">
                  <c:v>37158</c:v>
                </c:pt>
                <c:pt idx="435" formatCode="d\-mmm\-yy">
                  <c:v>37159</c:v>
                </c:pt>
                <c:pt idx="436" formatCode="d\-mmm\-yy">
                  <c:v>37160</c:v>
                </c:pt>
                <c:pt idx="437" formatCode="d\-mmm\-yy">
                  <c:v>37161</c:v>
                </c:pt>
                <c:pt idx="438" formatCode="d\-mmm\-yy">
                  <c:v>37162</c:v>
                </c:pt>
                <c:pt idx="439" formatCode="d\-mmm\-yy">
                  <c:v>37165</c:v>
                </c:pt>
                <c:pt idx="440" formatCode="d\-mmm\-yy">
                  <c:v>37166</c:v>
                </c:pt>
                <c:pt idx="441" formatCode="d\-mmm\-yy">
                  <c:v>37167</c:v>
                </c:pt>
                <c:pt idx="442" formatCode="d\-mmm\-yy">
                  <c:v>37168</c:v>
                </c:pt>
                <c:pt idx="443" formatCode="d\-mmm\-yy">
                  <c:v>37169</c:v>
                </c:pt>
                <c:pt idx="444" formatCode="d\-mmm\-yy">
                  <c:v>37172</c:v>
                </c:pt>
                <c:pt idx="445" formatCode="d\-mmm\-yy">
                  <c:v>37173</c:v>
                </c:pt>
                <c:pt idx="446" formatCode="d\-mmm\-yy">
                  <c:v>37174</c:v>
                </c:pt>
                <c:pt idx="447" formatCode="d\-mmm\-yy">
                  <c:v>37175</c:v>
                </c:pt>
                <c:pt idx="448" formatCode="d\-mmm\-yy">
                  <c:v>37176</c:v>
                </c:pt>
                <c:pt idx="449" formatCode="d\-mmm\-yy">
                  <c:v>37179</c:v>
                </c:pt>
                <c:pt idx="450" formatCode="d\-mmm\-yy">
                  <c:v>37180</c:v>
                </c:pt>
                <c:pt idx="451" formatCode="d\-mmm\-yy">
                  <c:v>37181</c:v>
                </c:pt>
                <c:pt idx="452" formatCode="d\-mmm\-yy">
                  <c:v>37182</c:v>
                </c:pt>
                <c:pt idx="453" formatCode="d\-mmm\-yy">
                  <c:v>37183</c:v>
                </c:pt>
                <c:pt idx="454" formatCode="d\-mmm\-yy">
                  <c:v>37184</c:v>
                </c:pt>
                <c:pt idx="455" formatCode="d\-mmm\-yy">
                  <c:v>37188</c:v>
                </c:pt>
                <c:pt idx="456" formatCode="d\-mmm\-yy">
                  <c:v>37189</c:v>
                </c:pt>
                <c:pt idx="457" formatCode="d\-mmm\-yy">
                  <c:v>37190</c:v>
                </c:pt>
                <c:pt idx="458" formatCode="d\-mmm\-yy">
                  <c:v>37191</c:v>
                </c:pt>
                <c:pt idx="459" formatCode="d\-mmm\-yy">
                  <c:v>37193</c:v>
                </c:pt>
                <c:pt idx="460" formatCode="d\-mmm\-yy">
                  <c:v>37194</c:v>
                </c:pt>
                <c:pt idx="461" formatCode="d\-mmm\-yy">
                  <c:v>37195</c:v>
                </c:pt>
                <c:pt idx="462" formatCode="d\-mmm\-yy">
                  <c:v>37200</c:v>
                </c:pt>
                <c:pt idx="463" formatCode="d\-mmm\-yy">
                  <c:v>37201</c:v>
                </c:pt>
                <c:pt idx="464" formatCode="d\-mmm\-yy">
                  <c:v>37202</c:v>
                </c:pt>
                <c:pt idx="465" formatCode="d\-mmm\-yy">
                  <c:v>37203</c:v>
                </c:pt>
                <c:pt idx="466" formatCode="d\-mmm\-yy">
                  <c:v>37204</c:v>
                </c:pt>
                <c:pt idx="467" formatCode="d\-mmm\-yy">
                  <c:v>37207</c:v>
                </c:pt>
                <c:pt idx="468" formatCode="d\-mmm\-yy">
                  <c:v>37208</c:v>
                </c:pt>
                <c:pt idx="469" formatCode="d\-mmm\-yy">
                  <c:v>37209</c:v>
                </c:pt>
                <c:pt idx="470" formatCode="d\-mmm\-yy">
                  <c:v>37210</c:v>
                </c:pt>
                <c:pt idx="471" formatCode="d\-mmm\-yy">
                  <c:v>37211</c:v>
                </c:pt>
                <c:pt idx="472" formatCode="d\-mmm\-yy">
                  <c:v>37214</c:v>
                </c:pt>
                <c:pt idx="473" formatCode="d\-mmm\-yy">
                  <c:v>37215</c:v>
                </c:pt>
                <c:pt idx="474" formatCode="d\-mmm\-yy">
                  <c:v>37216</c:v>
                </c:pt>
                <c:pt idx="475" formatCode="d\-mmm\-yy">
                  <c:v>37217</c:v>
                </c:pt>
                <c:pt idx="476" formatCode="d\-mmm\-yy">
                  <c:v>37218</c:v>
                </c:pt>
                <c:pt idx="477" formatCode="d\-mmm\-yy">
                  <c:v>37221</c:v>
                </c:pt>
                <c:pt idx="478" formatCode="d\-mmm\-yy">
                  <c:v>37222</c:v>
                </c:pt>
                <c:pt idx="479" formatCode="d\-mmm\-yy">
                  <c:v>37223</c:v>
                </c:pt>
                <c:pt idx="480" formatCode="d\-mmm\-yy">
                  <c:v>37224</c:v>
                </c:pt>
                <c:pt idx="481" formatCode="d\-mmm\-yy">
                  <c:v>37225</c:v>
                </c:pt>
                <c:pt idx="482" formatCode="d\-mmm\-yy">
                  <c:v>37228</c:v>
                </c:pt>
                <c:pt idx="483" formatCode="d\-mmm\-yy">
                  <c:v>37229</c:v>
                </c:pt>
                <c:pt idx="484" formatCode="d\-mmm\-yy">
                  <c:v>37230</c:v>
                </c:pt>
                <c:pt idx="485" formatCode="d\-mmm\-yy">
                  <c:v>37231</c:v>
                </c:pt>
                <c:pt idx="486" formatCode="d\-mmm\-yy">
                  <c:v>37232</c:v>
                </c:pt>
                <c:pt idx="487" formatCode="d\-mmm\-yy">
                  <c:v>37235</c:v>
                </c:pt>
                <c:pt idx="488" formatCode="d\-mmm\-yy">
                  <c:v>37236</c:v>
                </c:pt>
                <c:pt idx="489" formatCode="d\-mmm\-yy">
                  <c:v>37237</c:v>
                </c:pt>
                <c:pt idx="490" formatCode="d\-mmm\-yy">
                  <c:v>37238</c:v>
                </c:pt>
                <c:pt idx="491" formatCode="d\-mmm\-yy">
                  <c:v>37239</c:v>
                </c:pt>
                <c:pt idx="492" formatCode="d\-mmm\-yy">
                  <c:v>37242</c:v>
                </c:pt>
                <c:pt idx="493" formatCode="d\-mmm\-yy">
                  <c:v>37243</c:v>
                </c:pt>
                <c:pt idx="494" formatCode="d\-mmm\-yy">
                  <c:v>37244</c:v>
                </c:pt>
                <c:pt idx="495" formatCode="d\-mmm\-yy">
                  <c:v>37245</c:v>
                </c:pt>
                <c:pt idx="496" formatCode="d\-mmm\-yy">
                  <c:v>37246</c:v>
                </c:pt>
                <c:pt idx="497" formatCode="d\-mmm\-yy">
                  <c:v>37247</c:v>
                </c:pt>
                <c:pt idx="498" formatCode="d\-mmm\-yy">
                  <c:v>37252</c:v>
                </c:pt>
                <c:pt idx="499" formatCode="d\-mmm\-yy">
                  <c:v>37253</c:v>
                </c:pt>
                <c:pt idx="500" formatCode="d\-mmm\-yy">
                  <c:v>37254</c:v>
                </c:pt>
                <c:pt idx="501" formatCode="d\-mmm\-yy">
                  <c:v>37378</c:v>
                </c:pt>
                <c:pt idx="502" formatCode="d\-mmm\-yy">
                  <c:v>37379</c:v>
                </c:pt>
                <c:pt idx="503" formatCode="d\-mmm\-yy">
                  <c:v>37382</c:v>
                </c:pt>
                <c:pt idx="504" formatCode="d\-mmm\-yy">
                  <c:v>37383</c:v>
                </c:pt>
                <c:pt idx="505" formatCode="d\-mmm\-yy">
                  <c:v>37384</c:v>
                </c:pt>
                <c:pt idx="506" formatCode="d\-mmm\-yy">
                  <c:v>37385</c:v>
                </c:pt>
                <c:pt idx="507" formatCode="d\-mmm\-yy">
                  <c:v>37386</c:v>
                </c:pt>
                <c:pt idx="508" formatCode="d\-mmm\-yy">
                  <c:v>37389</c:v>
                </c:pt>
                <c:pt idx="509" formatCode="d\-mmm\-yy">
                  <c:v>37390</c:v>
                </c:pt>
                <c:pt idx="510" formatCode="d\-mmm\-yy">
                  <c:v>37391</c:v>
                </c:pt>
                <c:pt idx="511" formatCode="d\-mmm\-yy">
                  <c:v>37392</c:v>
                </c:pt>
                <c:pt idx="512" formatCode="d\-mmm\-yy">
                  <c:v>37393</c:v>
                </c:pt>
                <c:pt idx="513" formatCode="d\-mmm\-yy">
                  <c:v>37397</c:v>
                </c:pt>
                <c:pt idx="514" formatCode="d\-mmm\-yy">
                  <c:v>37398</c:v>
                </c:pt>
                <c:pt idx="515" formatCode="d\-mmm\-yy">
                  <c:v>37399</c:v>
                </c:pt>
                <c:pt idx="516" formatCode="d\-mmm\-yy">
                  <c:v>37400</c:v>
                </c:pt>
                <c:pt idx="517" formatCode="d\-mmm\-yy">
                  <c:v>37403</c:v>
                </c:pt>
                <c:pt idx="518" formatCode="d\-mmm\-yy">
                  <c:v>37404</c:v>
                </c:pt>
                <c:pt idx="519" formatCode="d\-mmm\-yy">
                  <c:v>37405</c:v>
                </c:pt>
                <c:pt idx="520" formatCode="d\-mmm\-yy">
                  <c:v>37406</c:v>
                </c:pt>
                <c:pt idx="521" formatCode="d\-mmm\-yy">
                  <c:v>37407</c:v>
                </c:pt>
                <c:pt idx="522" formatCode="d\-mmm\-yy">
                  <c:v>37410</c:v>
                </c:pt>
                <c:pt idx="523" formatCode="d\-mmm\-yy">
                  <c:v>37411</c:v>
                </c:pt>
                <c:pt idx="524" formatCode="d\-mmm\-yy">
                  <c:v>37412</c:v>
                </c:pt>
                <c:pt idx="525" formatCode="d\-mmm\-yy">
                  <c:v>37413</c:v>
                </c:pt>
                <c:pt idx="526" formatCode="d\-mmm\-yy">
                  <c:v>37414</c:v>
                </c:pt>
                <c:pt idx="527" formatCode="d\-mmm\-yy">
                  <c:v>37417</c:v>
                </c:pt>
                <c:pt idx="528" formatCode="d\-mmm\-yy">
                  <c:v>37418</c:v>
                </c:pt>
                <c:pt idx="529" formatCode="d\-mmm\-yy">
                  <c:v>37419</c:v>
                </c:pt>
                <c:pt idx="530" formatCode="d\-mmm\-yy">
                  <c:v>37420</c:v>
                </c:pt>
                <c:pt idx="531" formatCode="d\-mmm\-yy">
                  <c:v>37421</c:v>
                </c:pt>
                <c:pt idx="532" formatCode="d\-mmm\-yy">
                  <c:v>37424</c:v>
                </c:pt>
                <c:pt idx="533" formatCode="d\-mmm\-yy">
                  <c:v>37425</c:v>
                </c:pt>
                <c:pt idx="534" formatCode="d\-mmm\-yy">
                  <c:v>37426</c:v>
                </c:pt>
                <c:pt idx="535" formatCode="d\-mmm\-yy">
                  <c:v>37427</c:v>
                </c:pt>
                <c:pt idx="536" formatCode="d\-mmm\-yy">
                  <c:v>37428</c:v>
                </c:pt>
                <c:pt idx="537" formatCode="d\-mmm\-yy">
                  <c:v>37431</c:v>
                </c:pt>
                <c:pt idx="538" formatCode="d\-mmm\-yy">
                  <c:v>37432</c:v>
                </c:pt>
                <c:pt idx="539" formatCode="d\-mmm\-yy">
                  <c:v>37433</c:v>
                </c:pt>
                <c:pt idx="540" formatCode="d\-mmm\-yy">
                  <c:v>37434</c:v>
                </c:pt>
                <c:pt idx="541" formatCode="d\-mmm\-yy">
                  <c:v>37435</c:v>
                </c:pt>
                <c:pt idx="542" formatCode="d\-mmm\-yy">
                  <c:v>37438</c:v>
                </c:pt>
                <c:pt idx="543" formatCode="d\-mmm\-yy">
                  <c:v>37439</c:v>
                </c:pt>
                <c:pt idx="544" formatCode="d\-mmm\-yy">
                  <c:v>37440</c:v>
                </c:pt>
                <c:pt idx="545" formatCode="d\-mmm\-yy">
                  <c:v>37441</c:v>
                </c:pt>
                <c:pt idx="546" formatCode="d\-mmm\-yy">
                  <c:v>37442</c:v>
                </c:pt>
                <c:pt idx="547" formatCode="d\-mmm\-yy">
                  <c:v>37445</c:v>
                </c:pt>
                <c:pt idx="548" formatCode="d\-mmm\-yy">
                  <c:v>37446</c:v>
                </c:pt>
                <c:pt idx="549" formatCode="d\-mmm\-yy">
                  <c:v>37447</c:v>
                </c:pt>
                <c:pt idx="550" formatCode="d\-mmm\-yy">
                  <c:v>37448</c:v>
                </c:pt>
                <c:pt idx="551" formatCode="d\-mmm\-yy">
                  <c:v>37449</c:v>
                </c:pt>
                <c:pt idx="552" formatCode="d\-mmm\-yy">
                  <c:v>37452</c:v>
                </c:pt>
                <c:pt idx="553" formatCode="d\-mmm\-yy">
                  <c:v>37453</c:v>
                </c:pt>
                <c:pt idx="554" formatCode="d\-mmm\-yy">
                  <c:v>37454</c:v>
                </c:pt>
                <c:pt idx="555" formatCode="d\-mmm\-yy">
                  <c:v>37455</c:v>
                </c:pt>
                <c:pt idx="556" formatCode="d\-mmm\-yy">
                  <c:v>37456</c:v>
                </c:pt>
                <c:pt idx="557" formatCode="d\-mmm\-yy">
                  <c:v>37459</c:v>
                </c:pt>
                <c:pt idx="558" formatCode="d\-mmm\-yy">
                  <c:v>37460</c:v>
                </c:pt>
                <c:pt idx="559" formatCode="d\-mmm\-yy">
                  <c:v>37461</c:v>
                </c:pt>
                <c:pt idx="560" formatCode="d\-mmm\-yy">
                  <c:v>37462</c:v>
                </c:pt>
                <c:pt idx="561" formatCode="d\-mmm\-yy">
                  <c:v>37463</c:v>
                </c:pt>
                <c:pt idx="562" formatCode="d\-mmm\-yy">
                  <c:v>37466</c:v>
                </c:pt>
                <c:pt idx="563" formatCode="d\-mmm\-yy">
                  <c:v>37467</c:v>
                </c:pt>
                <c:pt idx="564" formatCode="d\-mmm\-yy">
                  <c:v>37468</c:v>
                </c:pt>
                <c:pt idx="565" formatCode="d\-mmm\-yy">
                  <c:v>37469</c:v>
                </c:pt>
                <c:pt idx="566" formatCode="d\-mmm\-yy">
                  <c:v>37470</c:v>
                </c:pt>
                <c:pt idx="567" formatCode="d\-mmm\-yy">
                  <c:v>37473</c:v>
                </c:pt>
                <c:pt idx="568" formatCode="d\-mmm\-yy">
                  <c:v>37474</c:v>
                </c:pt>
                <c:pt idx="569" formatCode="d\-mmm\-yy">
                  <c:v>37475</c:v>
                </c:pt>
                <c:pt idx="570" formatCode="d\-mmm\-yy">
                  <c:v>37476</c:v>
                </c:pt>
                <c:pt idx="571" formatCode="d\-mmm\-yy">
                  <c:v>37477</c:v>
                </c:pt>
                <c:pt idx="572" formatCode="d\-mmm\-yy">
                  <c:v>37478</c:v>
                </c:pt>
                <c:pt idx="573" formatCode="d\-mmm\-yy">
                  <c:v>37480</c:v>
                </c:pt>
                <c:pt idx="574" formatCode="d\-mmm\-yy">
                  <c:v>37481</c:v>
                </c:pt>
                <c:pt idx="575" formatCode="d\-mmm\-yy">
                  <c:v>37482</c:v>
                </c:pt>
                <c:pt idx="576" formatCode="d\-mmm\-yy">
                  <c:v>37483</c:v>
                </c:pt>
                <c:pt idx="577" formatCode="d\-mmm\-yy">
                  <c:v>37484</c:v>
                </c:pt>
                <c:pt idx="578" formatCode="d\-mmm\-yy">
                  <c:v>37489</c:v>
                </c:pt>
                <c:pt idx="579" formatCode="d\-mmm\-yy">
                  <c:v>37490</c:v>
                </c:pt>
                <c:pt idx="580" formatCode="d\-mmm\-yy">
                  <c:v>37491</c:v>
                </c:pt>
                <c:pt idx="581" formatCode="d\-mmm\-yy">
                  <c:v>37494</c:v>
                </c:pt>
                <c:pt idx="582" formatCode="d\-mmm\-yy">
                  <c:v>37495</c:v>
                </c:pt>
                <c:pt idx="583" formatCode="d\-mmm\-yy">
                  <c:v>37496</c:v>
                </c:pt>
                <c:pt idx="584" formatCode="d\-mmm\-yy">
                  <c:v>37497</c:v>
                </c:pt>
                <c:pt idx="585" formatCode="d\-mmm\-yy">
                  <c:v>37498</c:v>
                </c:pt>
                <c:pt idx="586" formatCode="d\-mmm\-yy">
                  <c:v>37501</c:v>
                </c:pt>
                <c:pt idx="587" formatCode="d\-mmm\-yy">
                  <c:v>37502</c:v>
                </c:pt>
                <c:pt idx="588" formatCode="d\-mmm\-yy">
                  <c:v>37503</c:v>
                </c:pt>
                <c:pt idx="589" formatCode="d\-mmm\-yy">
                  <c:v>37504</c:v>
                </c:pt>
                <c:pt idx="590" formatCode="d\-mmm\-yy">
                  <c:v>37505</c:v>
                </c:pt>
                <c:pt idx="591" formatCode="d\-mmm\-yy">
                  <c:v>37508</c:v>
                </c:pt>
                <c:pt idx="592" formatCode="d\-mmm\-yy">
                  <c:v>37509</c:v>
                </c:pt>
                <c:pt idx="593" formatCode="d\-mmm\-yy">
                  <c:v>37510</c:v>
                </c:pt>
                <c:pt idx="594" formatCode="d\-mmm\-yy">
                  <c:v>37511</c:v>
                </c:pt>
                <c:pt idx="595" formatCode="d\-mmm\-yy">
                  <c:v>37512</c:v>
                </c:pt>
                <c:pt idx="596" formatCode="d\-mmm\-yy">
                  <c:v>37515</c:v>
                </c:pt>
                <c:pt idx="597" formatCode="d\-mmm\-yy">
                  <c:v>37516</c:v>
                </c:pt>
                <c:pt idx="598" formatCode="d\-mmm\-yy">
                  <c:v>37517</c:v>
                </c:pt>
                <c:pt idx="599" formatCode="d\-mmm\-yy">
                  <c:v>37518</c:v>
                </c:pt>
                <c:pt idx="600" formatCode="d\-mmm\-yy">
                  <c:v>37519</c:v>
                </c:pt>
                <c:pt idx="601" formatCode="d\-mmm\-yy">
                  <c:v>37522</c:v>
                </c:pt>
                <c:pt idx="602" formatCode="d\-mmm\-yy">
                  <c:v>37523</c:v>
                </c:pt>
                <c:pt idx="603" formatCode="d\-mmm\-yy">
                  <c:v>37524</c:v>
                </c:pt>
                <c:pt idx="604" formatCode="d\-mmm\-yy">
                  <c:v>37525</c:v>
                </c:pt>
                <c:pt idx="605" formatCode="d\-mmm\-yy">
                  <c:v>37526</c:v>
                </c:pt>
                <c:pt idx="606" formatCode="d\-mmm\-yy">
                  <c:v>37529</c:v>
                </c:pt>
                <c:pt idx="607" formatCode="d\-mmm\-yy">
                  <c:v>37530</c:v>
                </c:pt>
                <c:pt idx="608" formatCode="d\-mmm\-yy">
                  <c:v>37531</c:v>
                </c:pt>
                <c:pt idx="609" formatCode="d\-mmm\-yy">
                  <c:v>37532</c:v>
                </c:pt>
                <c:pt idx="610" formatCode="d\-mmm\-yy">
                  <c:v>37533</c:v>
                </c:pt>
                <c:pt idx="611" formatCode="d\-mmm\-yy">
                  <c:v>37536</c:v>
                </c:pt>
                <c:pt idx="612" formatCode="d\-mmm\-yy">
                  <c:v>37537</c:v>
                </c:pt>
                <c:pt idx="613" formatCode="d\-mmm\-yy">
                  <c:v>37538</c:v>
                </c:pt>
                <c:pt idx="614" formatCode="d\-mmm\-yy">
                  <c:v>37539</c:v>
                </c:pt>
                <c:pt idx="615" formatCode="d\-mmm\-yy">
                  <c:v>37540</c:v>
                </c:pt>
                <c:pt idx="616" formatCode="d\-mmm\-yy">
                  <c:v>37543</c:v>
                </c:pt>
                <c:pt idx="617" formatCode="d\-mmm\-yy">
                  <c:v>37544</c:v>
                </c:pt>
                <c:pt idx="618" formatCode="d\-mmm\-yy">
                  <c:v>37545</c:v>
                </c:pt>
                <c:pt idx="619" formatCode="d\-mmm\-yy">
                  <c:v>37546</c:v>
                </c:pt>
                <c:pt idx="620" formatCode="d\-mmm\-yy">
                  <c:v>37547</c:v>
                </c:pt>
                <c:pt idx="621" formatCode="d\-mmm\-yy">
                  <c:v>37550</c:v>
                </c:pt>
                <c:pt idx="622" formatCode="d\-mmm\-yy">
                  <c:v>37551</c:v>
                </c:pt>
                <c:pt idx="623" formatCode="d\-mmm\-yy">
                  <c:v>37553</c:v>
                </c:pt>
                <c:pt idx="624" formatCode="d\-mmm\-yy">
                  <c:v>37554</c:v>
                </c:pt>
                <c:pt idx="625" formatCode="d\-mmm\-yy">
                  <c:v>37557</c:v>
                </c:pt>
                <c:pt idx="626" formatCode="d\-mmm\-yy">
                  <c:v>37558</c:v>
                </c:pt>
                <c:pt idx="627" formatCode="d\-mmm\-yy">
                  <c:v>37559</c:v>
                </c:pt>
                <c:pt idx="628" formatCode="d\-mmm\-yy">
                  <c:v>37560</c:v>
                </c:pt>
                <c:pt idx="629" formatCode="d\-mmm\-yy">
                  <c:v>37564</c:v>
                </c:pt>
                <c:pt idx="630" formatCode="d\-mmm\-yy">
                  <c:v>37565</c:v>
                </c:pt>
                <c:pt idx="631" formatCode="d\-mmm\-yy">
                  <c:v>37566</c:v>
                </c:pt>
                <c:pt idx="632" formatCode="d\-mmm\-yy">
                  <c:v>37567</c:v>
                </c:pt>
                <c:pt idx="633" formatCode="d\-mmm\-yy">
                  <c:v>37568</c:v>
                </c:pt>
                <c:pt idx="634" formatCode="d\-mmm\-yy">
                  <c:v>37571</c:v>
                </c:pt>
                <c:pt idx="635" formatCode="d\-mmm\-yy">
                  <c:v>37572</c:v>
                </c:pt>
                <c:pt idx="636" formatCode="d\-mmm\-yy">
                  <c:v>37573</c:v>
                </c:pt>
                <c:pt idx="637" formatCode="d\-mmm\-yy">
                  <c:v>37574</c:v>
                </c:pt>
                <c:pt idx="638" formatCode="d\-mmm\-yy">
                  <c:v>37575</c:v>
                </c:pt>
                <c:pt idx="639" formatCode="d\-mmm\-yy">
                  <c:v>37578</c:v>
                </c:pt>
                <c:pt idx="640" formatCode="d\-mmm\-yy">
                  <c:v>37579</c:v>
                </c:pt>
                <c:pt idx="641" formatCode="d\-mmm\-yy">
                  <c:v>37580</c:v>
                </c:pt>
                <c:pt idx="642" formatCode="d\-mmm\-yy">
                  <c:v>37581</c:v>
                </c:pt>
                <c:pt idx="643" formatCode="d\-mmm\-yy">
                  <c:v>37582</c:v>
                </c:pt>
                <c:pt idx="644" formatCode="d\-mmm\-yy">
                  <c:v>37585</c:v>
                </c:pt>
                <c:pt idx="645" formatCode="d\-mmm\-yy">
                  <c:v>37586</c:v>
                </c:pt>
                <c:pt idx="646" formatCode="d\-mmm\-yy">
                  <c:v>37587</c:v>
                </c:pt>
                <c:pt idx="647" formatCode="d\-mmm\-yy">
                  <c:v>37588</c:v>
                </c:pt>
                <c:pt idx="648" formatCode="d\-mmm\-yy">
                  <c:v>37589</c:v>
                </c:pt>
                <c:pt idx="649" formatCode="d\-mmm\-yy">
                  <c:v>37592</c:v>
                </c:pt>
                <c:pt idx="650" formatCode="d\-mmm\-yy">
                  <c:v>37593</c:v>
                </c:pt>
                <c:pt idx="651" formatCode="d\-mmm\-yy">
                  <c:v>37594</c:v>
                </c:pt>
                <c:pt idx="652" formatCode="d\-mmm\-yy">
                  <c:v>37595</c:v>
                </c:pt>
                <c:pt idx="653" formatCode="d\-mmm\-yy">
                  <c:v>37596</c:v>
                </c:pt>
                <c:pt idx="654" formatCode="d\-mmm\-yy">
                  <c:v>37599</c:v>
                </c:pt>
                <c:pt idx="655" formatCode="d\-mmm\-yy">
                  <c:v>37600</c:v>
                </c:pt>
                <c:pt idx="656" formatCode="d\-mmm\-yy">
                  <c:v>37601</c:v>
                </c:pt>
                <c:pt idx="657" formatCode="d\-mmm\-yy">
                  <c:v>37602</c:v>
                </c:pt>
                <c:pt idx="658" formatCode="d\-mmm\-yy">
                  <c:v>37603</c:v>
                </c:pt>
                <c:pt idx="659" formatCode="d\-mmm\-yy">
                  <c:v>37606</c:v>
                </c:pt>
                <c:pt idx="660" formatCode="d\-mmm\-yy">
                  <c:v>37607</c:v>
                </c:pt>
                <c:pt idx="661" formatCode="d\-mmm\-yy">
                  <c:v>37608</c:v>
                </c:pt>
                <c:pt idx="662" formatCode="d\-mmm\-yy">
                  <c:v>37609</c:v>
                </c:pt>
                <c:pt idx="663" formatCode="d\-mmm\-yy">
                  <c:v>37610</c:v>
                </c:pt>
                <c:pt idx="664" formatCode="d\-mmm\-yy">
                  <c:v>37613</c:v>
                </c:pt>
                <c:pt idx="665" formatCode="d\-mmm\-yy">
                  <c:v>37617</c:v>
                </c:pt>
                <c:pt idx="666" formatCode="d\-mmm\-yy">
                  <c:v>37618</c:v>
                </c:pt>
                <c:pt idx="667" formatCode="d\-mmm\-yy">
                  <c:v>37620</c:v>
                </c:pt>
                <c:pt idx="668" formatCode="d\-mmm\-yy">
                  <c:v>37621</c:v>
                </c:pt>
                <c:pt idx="669" formatCode="m/d/yyyy">
                  <c:v>37623</c:v>
                </c:pt>
                <c:pt idx="670" formatCode="m/d/yyyy">
                  <c:v>37624</c:v>
                </c:pt>
                <c:pt idx="671" formatCode="m/d/yyyy">
                  <c:v>37627</c:v>
                </c:pt>
                <c:pt idx="672" formatCode="m/d/yyyy">
                  <c:v>37628</c:v>
                </c:pt>
                <c:pt idx="673" formatCode="m/d/yyyy">
                  <c:v>37629</c:v>
                </c:pt>
                <c:pt idx="674" formatCode="m/d/yyyy">
                  <c:v>37630</c:v>
                </c:pt>
                <c:pt idx="675" formatCode="m/d/yyyy">
                  <c:v>37631</c:v>
                </c:pt>
                <c:pt idx="676" formatCode="m/d/yyyy">
                  <c:v>37634</c:v>
                </c:pt>
                <c:pt idx="677" formatCode="m/d/yyyy">
                  <c:v>37635</c:v>
                </c:pt>
                <c:pt idx="678" formatCode="m/d/yyyy">
                  <c:v>37636</c:v>
                </c:pt>
                <c:pt idx="679" formatCode="m/d/yyyy">
                  <c:v>37637</c:v>
                </c:pt>
                <c:pt idx="680" formatCode="m/d/yyyy">
                  <c:v>37638</c:v>
                </c:pt>
                <c:pt idx="681" formatCode="m/d/yyyy">
                  <c:v>37641</c:v>
                </c:pt>
                <c:pt idx="682" formatCode="m/d/yyyy">
                  <c:v>37642</c:v>
                </c:pt>
                <c:pt idx="683" formatCode="m/d/yyyy">
                  <c:v>37643</c:v>
                </c:pt>
                <c:pt idx="684" formatCode="m/d/yyyy">
                  <c:v>37644</c:v>
                </c:pt>
                <c:pt idx="685" formatCode="m/d/yyyy">
                  <c:v>37645</c:v>
                </c:pt>
                <c:pt idx="686" formatCode="m/d/yyyy">
                  <c:v>37648</c:v>
                </c:pt>
                <c:pt idx="687" formatCode="m/d/yyyy">
                  <c:v>37649</c:v>
                </c:pt>
                <c:pt idx="688" formatCode="m/d/yyyy">
                  <c:v>37650</c:v>
                </c:pt>
                <c:pt idx="689" formatCode="m/d/yyyy">
                  <c:v>37651</c:v>
                </c:pt>
                <c:pt idx="690" formatCode="m/d/yyyy">
                  <c:v>37652</c:v>
                </c:pt>
                <c:pt idx="691" formatCode="m/d/yyyy">
                  <c:v>37655</c:v>
                </c:pt>
                <c:pt idx="692" formatCode="m/d/yyyy">
                  <c:v>37656</c:v>
                </c:pt>
                <c:pt idx="693" formatCode="m/d/yyyy">
                  <c:v>37657</c:v>
                </c:pt>
                <c:pt idx="694" formatCode="m/d/yyyy">
                  <c:v>37658</c:v>
                </c:pt>
                <c:pt idx="695" formatCode="m/d/yyyy">
                  <c:v>37659</c:v>
                </c:pt>
                <c:pt idx="696" formatCode="m/d/yyyy">
                  <c:v>37662</c:v>
                </c:pt>
                <c:pt idx="697" formatCode="m/d/yyyy">
                  <c:v>37663</c:v>
                </c:pt>
                <c:pt idx="698" formatCode="m/d/yyyy">
                  <c:v>37664</c:v>
                </c:pt>
                <c:pt idx="699" formatCode="m/d/yyyy">
                  <c:v>37665</c:v>
                </c:pt>
                <c:pt idx="700" formatCode="m/d/yyyy">
                  <c:v>37666</c:v>
                </c:pt>
                <c:pt idx="701" formatCode="m/d/yyyy">
                  <c:v>37669</c:v>
                </c:pt>
                <c:pt idx="702" formatCode="m/d/yyyy">
                  <c:v>37670</c:v>
                </c:pt>
                <c:pt idx="703" formatCode="m/d/yyyy">
                  <c:v>37671</c:v>
                </c:pt>
                <c:pt idx="704" formatCode="m/d/yyyy">
                  <c:v>37672</c:v>
                </c:pt>
                <c:pt idx="705" formatCode="m/d/yyyy">
                  <c:v>37673</c:v>
                </c:pt>
                <c:pt idx="706" formatCode="m/d/yyyy">
                  <c:v>37676</c:v>
                </c:pt>
                <c:pt idx="707" formatCode="m/d/yyyy">
                  <c:v>37677</c:v>
                </c:pt>
                <c:pt idx="708" formatCode="m/d/yyyy">
                  <c:v>37678</c:v>
                </c:pt>
                <c:pt idx="709" formatCode="m/d/yyyy">
                  <c:v>37679</c:v>
                </c:pt>
                <c:pt idx="710" formatCode="m/d/yyyy">
                  <c:v>37680</c:v>
                </c:pt>
                <c:pt idx="711" formatCode="m/d/yyyy">
                  <c:v>37683</c:v>
                </c:pt>
                <c:pt idx="712" formatCode="m/d/yyyy">
                  <c:v>37684</c:v>
                </c:pt>
                <c:pt idx="713" formatCode="m/d/yyyy">
                  <c:v>37685</c:v>
                </c:pt>
                <c:pt idx="714" formatCode="m/d/yyyy">
                  <c:v>37686</c:v>
                </c:pt>
                <c:pt idx="715" formatCode="m/d/yyyy">
                  <c:v>37687</c:v>
                </c:pt>
                <c:pt idx="716" formatCode="m/d/yyyy">
                  <c:v>37690</c:v>
                </c:pt>
                <c:pt idx="717" formatCode="m/d/yyyy">
                  <c:v>37691</c:v>
                </c:pt>
                <c:pt idx="718" formatCode="m/d/yyyy">
                  <c:v>37692</c:v>
                </c:pt>
                <c:pt idx="719" formatCode="m/d/yyyy">
                  <c:v>37693</c:v>
                </c:pt>
                <c:pt idx="720" formatCode="m/d/yyyy">
                  <c:v>37694</c:v>
                </c:pt>
                <c:pt idx="721" formatCode="m/d/yyyy">
                  <c:v>37697</c:v>
                </c:pt>
                <c:pt idx="722" formatCode="m/d/yyyy">
                  <c:v>37698</c:v>
                </c:pt>
                <c:pt idx="723" formatCode="m/d/yyyy">
                  <c:v>37699</c:v>
                </c:pt>
                <c:pt idx="724" formatCode="m/d/yyyy">
                  <c:v>37700</c:v>
                </c:pt>
                <c:pt idx="725" formatCode="m/d/yyyy">
                  <c:v>37701</c:v>
                </c:pt>
                <c:pt idx="726" formatCode="m/d/yyyy">
                  <c:v>37704</c:v>
                </c:pt>
                <c:pt idx="727" formatCode="m/d/yyyy">
                  <c:v>37705</c:v>
                </c:pt>
                <c:pt idx="728" formatCode="m/d/yyyy">
                  <c:v>37706</c:v>
                </c:pt>
                <c:pt idx="729" formatCode="m/d/yyyy">
                  <c:v>37707</c:v>
                </c:pt>
                <c:pt idx="730" formatCode="m/d/yyyy">
                  <c:v>37708</c:v>
                </c:pt>
                <c:pt idx="731" formatCode="m/d/yyyy">
                  <c:v>37711</c:v>
                </c:pt>
                <c:pt idx="732" formatCode="m/d/yyyy">
                  <c:v>37712</c:v>
                </c:pt>
                <c:pt idx="733" formatCode="m/d/yyyy">
                  <c:v>37713</c:v>
                </c:pt>
                <c:pt idx="734" formatCode="m/d/yyyy">
                  <c:v>37714</c:v>
                </c:pt>
                <c:pt idx="735" formatCode="m/d/yyyy">
                  <c:v>37715</c:v>
                </c:pt>
                <c:pt idx="736" formatCode="m/d/yyyy">
                  <c:v>37718</c:v>
                </c:pt>
                <c:pt idx="737" formatCode="m/d/yyyy">
                  <c:v>37719</c:v>
                </c:pt>
                <c:pt idx="738" formatCode="m/d/yyyy">
                  <c:v>37720</c:v>
                </c:pt>
                <c:pt idx="739" formatCode="m/d/yyyy">
                  <c:v>37721</c:v>
                </c:pt>
                <c:pt idx="740" formatCode="m/d/yyyy">
                  <c:v>37722</c:v>
                </c:pt>
                <c:pt idx="741" formatCode="m/d/yyyy">
                  <c:v>37725</c:v>
                </c:pt>
                <c:pt idx="742" formatCode="m/d/yyyy">
                  <c:v>37726</c:v>
                </c:pt>
                <c:pt idx="743" formatCode="m/d/yyyy">
                  <c:v>37727</c:v>
                </c:pt>
                <c:pt idx="744" formatCode="m/d/yyyy">
                  <c:v>37728</c:v>
                </c:pt>
                <c:pt idx="745" formatCode="m/d/yyyy">
                  <c:v>37729</c:v>
                </c:pt>
                <c:pt idx="746" formatCode="m/d/yyyy">
                  <c:v>37733</c:v>
                </c:pt>
                <c:pt idx="747" formatCode="m/d/yyyy">
                  <c:v>37734</c:v>
                </c:pt>
                <c:pt idx="748" formatCode="m/d/yyyy">
                  <c:v>37735</c:v>
                </c:pt>
                <c:pt idx="749" formatCode="m/d/yyyy">
                  <c:v>37736</c:v>
                </c:pt>
                <c:pt idx="750" formatCode="m/d/yyyy">
                  <c:v>37737</c:v>
                </c:pt>
                <c:pt idx="751" formatCode="m/d/yyyy">
                  <c:v>37739</c:v>
                </c:pt>
                <c:pt idx="752" formatCode="m/d/yyyy">
                  <c:v>37740</c:v>
                </c:pt>
                <c:pt idx="753" formatCode="m/d/yyyy">
                  <c:v>37741</c:v>
                </c:pt>
                <c:pt idx="754" formatCode="m/d/yyyy">
                  <c:v>37746</c:v>
                </c:pt>
                <c:pt idx="755" formatCode="m/d/yyyy">
                  <c:v>37747</c:v>
                </c:pt>
                <c:pt idx="756" formatCode="m/d/yyyy">
                  <c:v>37748</c:v>
                </c:pt>
                <c:pt idx="757" formatCode="m/d/yyyy">
                  <c:v>37749</c:v>
                </c:pt>
                <c:pt idx="758" formatCode="m/d/yyyy">
                  <c:v>37750</c:v>
                </c:pt>
                <c:pt idx="759" formatCode="m/d/yyyy">
                  <c:v>37753</c:v>
                </c:pt>
                <c:pt idx="760" formatCode="m/d/yyyy">
                  <c:v>37754</c:v>
                </c:pt>
                <c:pt idx="761" formatCode="m/d/yyyy">
                  <c:v>37755</c:v>
                </c:pt>
                <c:pt idx="762" formatCode="m/d/yyyy">
                  <c:v>37756</c:v>
                </c:pt>
                <c:pt idx="763" formatCode="m/d/yyyy">
                  <c:v>37757</c:v>
                </c:pt>
                <c:pt idx="764" formatCode="m/d/yyyy">
                  <c:v>37760</c:v>
                </c:pt>
                <c:pt idx="765" formatCode="m/d/yyyy">
                  <c:v>37761</c:v>
                </c:pt>
                <c:pt idx="766" formatCode="m/d/yyyy">
                  <c:v>37762</c:v>
                </c:pt>
                <c:pt idx="767" formatCode="m/d/yyyy">
                  <c:v>37763</c:v>
                </c:pt>
                <c:pt idx="768" formatCode="m/d/yyyy">
                  <c:v>37764</c:v>
                </c:pt>
                <c:pt idx="769" formatCode="m/d/yyyy">
                  <c:v>37767</c:v>
                </c:pt>
                <c:pt idx="770" formatCode="m/d/yyyy">
                  <c:v>37768</c:v>
                </c:pt>
                <c:pt idx="771" formatCode="m/d/yyyy">
                  <c:v>37769</c:v>
                </c:pt>
                <c:pt idx="772" formatCode="m/d/yyyy">
                  <c:v>37770</c:v>
                </c:pt>
                <c:pt idx="773" formatCode="m/d/yyyy">
                  <c:v>37771</c:v>
                </c:pt>
                <c:pt idx="774" formatCode="m/d/yyyy">
                  <c:v>37774</c:v>
                </c:pt>
                <c:pt idx="775" formatCode="m/d/yyyy">
                  <c:v>37775</c:v>
                </c:pt>
                <c:pt idx="776" formatCode="m/d/yyyy">
                  <c:v>37776</c:v>
                </c:pt>
                <c:pt idx="777" formatCode="m/d/yyyy">
                  <c:v>37777</c:v>
                </c:pt>
                <c:pt idx="778" formatCode="m/d/yyyy">
                  <c:v>37778</c:v>
                </c:pt>
                <c:pt idx="779" formatCode="m/d/yyyy">
                  <c:v>37782</c:v>
                </c:pt>
                <c:pt idx="780" formatCode="m/d/yyyy">
                  <c:v>37783</c:v>
                </c:pt>
                <c:pt idx="781" formatCode="m/d/yyyy">
                  <c:v>37784</c:v>
                </c:pt>
                <c:pt idx="782" formatCode="m/d/yyyy">
                  <c:v>37785</c:v>
                </c:pt>
                <c:pt idx="783" formatCode="m/d/yyyy">
                  <c:v>37788</c:v>
                </c:pt>
                <c:pt idx="784" formatCode="m/d/yyyy">
                  <c:v>37789</c:v>
                </c:pt>
                <c:pt idx="785" formatCode="m/d/yyyy">
                  <c:v>37790</c:v>
                </c:pt>
                <c:pt idx="786" formatCode="m/d/yyyy">
                  <c:v>37791</c:v>
                </c:pt>
                <c:pt idx="787" formatCode="m/d/yyyy">
                  <c:v>37792</c:v>
                </c:pt>
                <c:pt idx="788" formatCode="m/d/yyyy">
                  <c:v>37795</c:v>
                </c:pt>
                <c:pt idx="789" formatCode="m/d/yyyy">
                  <c:v>37796</c:v>
                </c:pt>
                <c:pt idx="790" formatCode="m/d/yyyy">
                  <c:v>37797</c:v>
                </c:pt>
                <c:pt idx="791" formatCode="m/d/yyyy">
                  <c:v>37798</c:v>
                </c:pt>
                <c:pt idx="792" formatCode="m/d/yyyy">
                  <c:v>37799</c:v>
                </c:pt>
                <c:pt idx="793" formatCode="m/d/yyyy">
                  <c:v>37802</c:v>
                </c:pt>
                <c:pt idx="794" formatCode="m/d/yyyy">
                  <c:v>37803</c:v>
                </c:pt>
                <c:pt idx="795" formatCode="m/d/yyyy">
                  <c:v>37804</c:v>
                </c:pt>
                <c:pt idx="796" formatCode="m/d/yyyy">
                  <c:v>37805</c:v>
                </c:pt>
                <c:pt idx="797" formatCode="m/d/yyyy">
                  <c:v>37806</c:v>
                </c:pt>
                <c:pt idx="798" formatCode="m/d/yyyy">
                  <c:v>37809</c:v>
                </c:pt>
                <c:pt idx="799" formatCode="m/d/yyyy">
                  <c:v>37810</c:v>
                </c:pt>
                <c:pt idx="800" formatCode="m/d/yyyy">
                  <c:v>37811</c:v>
                </c:pt>
                <c:pt idx="801" formatCode="m/d/yyyy">
                  <c:v>37812</c:v>
                </c:pt>
                <c:pt idx="802" formatCode="m/d/yyyy">
                  <c:v>37813</c:v>
                </c:pt>
                <c:pt idx="803" formatCode="m/d/yyyy">
                  <c:v>37816</c:v>
                </c:pt>
                <c:pt idx="804" formatCode="m/d/yyyy">
                  <c:v>37817</c:v>
                </c:pt>
                <c:pt idx="805" formatCode="m/d/yyyy">
                  <c:v>37818</c:v>
                </c:pt>
                <c:pt idx="806" formatCode="m/d/yyyy">
                  <c:v>37819</c:v>
                </c:pt>
                <c:pt idx="807" formatCode="m/d/yyyy">
                  <c:v>37820</c:v>
                </c:pt>
                <c:pt idx="808" formatCode="m/d/yyyy">
                  <c:v>37823</c:v>
                </c:pt>
                <c:pt idx="809" formatCode="m/d/yyyy">
                  <c:v>37824</c:v>
                </c:pt>
                <c:pt idx="810" formatCode="m/d/yyyy">
                  <c:v>37825</c:v>
                </c:pt>
                <c:pt idx="811" formatCode="m/d/yyyy">
                  <c:v>37826</c:v>
                </c:pt>
                <c:pt idx="812" formatCode="m/d/yyyy">
                  <c:v>37827</c:v>
                </c:pt>
                <c:pt idx="813" formatCode="m/d/yyyy">
                  <c:v>37830</c:v>
                </c:pt>
                <c:pt idx="814" formatCode="m/d/yyyy">
                  <c:v>37831</c:v>
                </c:pt>
                <c:pt idx="815" formatCode="m/d/yyyy">
                  <c:v>37832</c:v>
                </c:pt>
                <c:pt idx="816" formatCode="m/d/yyyy">
                  <c:v>37833</c:v>
                </c:pt>
                <c:pt idx="817" formatCode="m/d/yyyy">
                  <c:v>37834</c:v>
                </c:pt>
                <c:pt idx="818" formatCode="m/d/yyyy">
                  <c:v>37837</c:v>
                </c:pt>
                <c:pt idx="819" formatCode="m/d/yyyy">
                  <c:v>37838</c:v>
                </c:pt>
                <c:pt idx="820" formatCode="m/d/yyyy">
                  <c:v>37839</c:v>
                </c:pt>
                <c:pt idx="821" formatCode="m/d/yyyy">
                  <c:v>37840</c:v>
                </c:pt>
                <c:pt idx="822" formatCode="m/d/yyyy">
                  <c:v>37841</c:v>
                </c:pt>
                <c:pt idx="823" formatCode="m/d/yyyy">
                  <c:v>37844</c:v>
                </c:pt>
                <c:pt idx="824" formatCode="m/d/yyyy">
                  <c:v>37845</c:v>
                </c:pt>
                <c:pt idx="825" formatCode="m/d/yyyy">
                  <c:v>37846</c:v>
                </c:pt>
                <c:pt idx="826" formatCode="m/d/yyyy">
                  <c:v>37847</c:v>
                </c:pt>
                <c:pt idx="827" formatCode="m/d/yyyy">
                  <c:v>37848</c:v>
                </c:pt>
                <c:pt idx="828" formatCode="m/d/yyyy">
                  <c:v>37851</c:v>
                </c:pt>
                <c:pt idx="829" formatCode="m/d/yyyy">
                  <c:v>37852</c:v>
                </c:pt>
                <c:pt idx="830" formatCode="m/d/yyyy">
                  <c:v>37854</c:v>
                </c:pt>
                <c:pt idx="831" formatCode="m/d/yyyy">
                  <c:v>37855</c:v>
                </c:pt>
                <c:pt idx="832" formatCode="m/d/yyyy">
                  <c:v>37858</c:v>
                </c:pt>
                <c:pt idx="833" formatCode="m/d/yyyy">
                  <c:v>37859</c:v>
                </c:pt>
                <c:pt idx="834" formatCode="m/d/yyyy">
                  <c:v>37860</c:v>
                </c:pt>
                <c:pt idx="835" formatCode="m/d/yyyy">
                  <c:v>37861</c:v>
                </c:pt>
                <c:pt idx="836" formatCode="m/d/yyyy">
                  <c:v>37862</c:v>
                </c:pt>
                <c:pt idx="837" formatCode="m/d/yyyy">
                  <c:v>37865</c:v>
                </c:pt>
                <c:pt idx="838" formatCode="m/d/yyyy">
                  <c:v>37866</c:v>
                </c:pt>
                <c:pt idx="839" formatCode="m/d/yyyy">
                  <c:v>37867</c:v>
                </c:pt>
                <c:pt idx="840" formatCode="m/d/yyyy">
                  <c:v>37868</c:v>
                </c:pt>
                <c:pt idx="841" formatCode="m/d/yyyy">
                  <c:v>37869</c:v>
                </c:pt>
                <c:pt idx="842" formatCode="m/d/yyyy">
                  <c:v>37872</c:v>
                </c:pt>
                <c:pt idx="843" formatCode="m/d/yyyy">
                  <c:v>37873</c:v>
                </c:pt>
                <c:pt idx="844" formatCode="m/d/yyyy">
                  <c:v>37874</c:v>
                </c:pt>
                <c:pt idx="845" formatCode="m/d/yyyy">
                  <c:v>37875</c:v>
                </c:pt>
                <c:pt idx="846" formatCode="m/d/yyyy">
                  <c:v>37876</c:v>
                </c:pt>
                <c:pt idx="847" formatCode="m/d/yyyy">
                  <c:v>37879</c:v>
                </c:pt>
                <c:pt idx="848" formatCode="m/d/yyyy">
                  <c:v>37880</c:v>
                </c:pt>
                <c:pt idx="849" formatCode="m/d/yyyy">
                  <c:v>37881</c:v>
                </c:pt>
                <c:pt idx="850" formatCode="m/d/yyyy">
                  <c:v>37882</c:v>
                </c:pt>
                <c:pt idx="851" formatCode="m/d/yyyy">
                  <c:v>37883</c:v>
                </c:pt>
                <c:pt idx="852" formatCode="m/d/yyyy">
                  <c:v>37886</c:v>
                </c:pt>
                <c:pt idx="853" formatCode="m/d/yyyy">
                  <c:v>37887</c:v>
                </c:pt>
                <c:pt idx="854" formatCode="m/d/yyyy">
                  <c:v>37888</c:v>
                </c:pt>
                <c:pt idx="855" formatCode="m/d/yyyy">
                  <c:v>37889</c:v>
                </c:pt>
                <c:pt idx="856" formatCode="m/d/yyyy">
                  <c:v>37890</c:v>
                </c:pt>
                <c:pt idx="857" formatCode="m/d/yyyy">
                  <c:v>37893</c:v>
                </c:pt>
                <c:pt idx="858" formatCode="m/d/yyyy">
                  <c:v>37894</c:v>
                </c:pt>
                <c:pt idx="859" formatCode="m/d/yyyy">
                  <c:v>37895</c:v>
                </c:pt>
                <c:pt idx="860" formatCode="m/d/yyyy">
                  <c:v>37896</c:v>
                </c:pt>
                <c:pt idx="861" formatCode="m/d/yyyy">
                  <c:v>37897</c:v>
                </c:pt>
                <c:pt idx="862" formatCode="m/d/yyyy">
                  <c:v>37900</c:v>
                </c:pt>
                <c:pt idx="863" formatCode="m/d/yyyy">
                  <c:v>37901</c:v>
                </c:pt>
                <c:pt idx="864" formatCode="m/d/yyyy">
                  <c:v>37902</c:v>
                </c:pt>
                <c:pt idx="865" formatCode="m/d/yyyy">
                  <c:v>37903</c:v>
                </c:pt>
                <c:pt idx="866" formatCode="m/d/yyyy">
                  <c:v>37904</c:v>
                </c:pt>
                <c:pt idx="867" formatCode="m/d/yyyy">
                  <c:v>37907</c:v>
                </c:pt>
                <c:pt idx="868" formatCode="m/d/yyyy">
                  <c:v>37908</c:v>
                </c:pt>
                <c:pt idx="869" formatCode="m/d/yyyy">
                  <c:v>37909</c:v>
                </c:pt>
                <c:pt idx="870" formatCode="m/d/yyyy">
                  <c:v>37910</c:v>
                </c:pt>
                <c:pt idx="871" formatCode="m/d/yyyy">
                  <c:v>37911</c:v>
                </c:pt>
                <c:pt idx="872" formatCode="m/d/yyyy">
                  <c:v>37912</c:v>
                </c:pt>
                <c:pt idx="873" formatCode="m/d/yyyy">
                  <c:v>37914</c:v>
                </c:pt>
                <c:pt idx="874" formatCode="m/d/yyyy">
                  <c:v>37915</c:v>
                </c:pt>
                <c:pt idx="875" formatCode="m/d/yyyy">
                  <c:v>37916</c:v>
                </c:pt>
                <c:pt idx="876" formatCode="m/d/yyyy">
                  <c:v>37921</c:v>
                </c:pt>
                <c:pt idx="877" formatCode="m/d/yyyy">
                  <c:v>37922</c:v>
                </c:pt>
                <c:pt idx="878" formatCode="m/d/yyyy">
                  <c:v>37923</c:v>
                </c:pt>
                <c:pt idx="879" formatCode="m/d/yyyy">
                  <c:v>37924</c:v>
                </c:pt>
                <c:pt idx="880" formatCode="m/d/yyyy">
                  <c:v>37925</c:v>
                </c:pt>
                <c:pt idx="881" formatCode="m/d/yyyy">
                  <c:v>37928</c:v>
                </c:pt>
                <c:pt idx="882" formatCode="m/d/yyyy">
                  <c:v>37929</c:v>
                </c:pt>
                <c:pt idx="883" formatCode="m/d/yyyy">
                  <c:v>37930</c:v>
                </c:pt>
                <c:pt idx="884" formatCode="m/d/yyyy">
                  <c:v>37931</c:v>
                </c:pt>
                <c:pt idx="885" formatCode="m/d/yyyy">
                  <c:v>37932</c:v>
                </c:pt>
                <c:pt idx="886" formatCode="m/d/yyyy">
                  <c:v>37935</c:v>
                </c:pt>
                <c:pt idx="887" formatCode="m/d/yyyy">
                  <c:v>37936</c:v>
                </c:pt>
                <c:pt idx="888" formatCode="m/d/yyyy">
                  <c:v>37937</c:v>
                </c:pt>
                <c:pt idx="889" formatCode="m/d/yyyy">
                  <c:v>37938</c:v>
                </c:pt>
                <c:pt idx="890" formatCode="m/d/yyyy">
                  <c:v>37939</c:v>
                </c:pt>
                <c:pt idx="891" formatCode="m/d/yyyy">
                  <c:v>37942</c:v>
                </c:pt>
                <c:pt idx="892" formatCode="m/d/yyyy">
                  <c:v>37943</c:v>
                </c:pt>
                <c:pt idx="893" formatCode="m/d/yyyy">
                  <c:v>37944</c:v>
                </c:pt>
                <c:pt idx="894" formatCode="m/d/yyyy">
                  <c:v>37945</c:v>
                </c:pt>
                <c:pt idx="895" formatCode="m/d/yyyy">
                  <c:v>37946</c:v>
                </c:pt>
                <c:pt idx="896" formatCode="m/d/yyyy">
                  <c:v>37949</c:v>
                </c:pt>
                <c:pt idx="897" formatCode="m/d/yyyy">
                  <c:v>37950</c:v>
                </c:pt>
                <c:pt idx="898" formatCode="m/d/yyyy">
                  <c:v>37951</c:v>
                </c:pt>
                <c:pt idx="899" formatCode="m/d/yyyy">
                  <c:v>37952</c:v>
                </c:pt>
                <c:pt idx="900" formatCode="m/d/yyyy">
                  <c:v>37953</c:v>
                </c:pt>
                <c:pt idx="901" formatCode="m/d/yyyy">
                  <c:v>37956</c:v>
                </c:pt>
                <c:pt idx="902" formatCode="m/d/yyyy">
                  <c:v>37957</c:v>
                </c:pt>
                <c:pt idx="903" formatCode="m/d/yyyy">
                  <c:v>37958</c:v>
                </c:pt>
                <c:pt idx="904" formatCode="m/d/yyyy">
                  <c:v>37959</c:v>
                </c:pt>
                <c:pt idx="905" formatCode="m/d/yyyy">
                  <c:v>37960</c:v>
                </c:pt>
                <c:pt idx="906" formatCode="m/d/yyyy">
                  <c:v>37963</c:v>
                </c:pt>
                <c:pt idx="907" formatCode="m/d/yyyy">
                  <c:v>37964</c:v>
                </c:pt>
                <c:pt idx="908" formatCode="m/d/yyyy">
                  <c:v>37965</c:v>
                </c:pt>
                <c:pt idx="909" formatCode="m/d/yyyy">
                  <c:v>37966</c:v>
                </c:pt>
                <c:pt idx="910" formatCode="m/d/yyyy">
                  <c:v>37967</c:v>
                </c:pt>
                <c:pt idx="911" formatCode="m/d/yyyy">
                  <c:v>37968</c:v>
                </c:pt>
                <c:pt idx="912" formatCode="m/d/yyyy">
                  <c:v>37970</c:v>
                </c:pt>
                <c:pt idx="913" formatCode="m/d/yyyy">
                  <c:v>37971</c:v>
                </c:pt>
                <c:pt idx="914" formatCode="m/d/yyyy">
                  <c:v>37972</c:v>
                </c:pt>
                <c:pt idx="915" formatCode="m/d/yyyy">
                  <c:v>37973</c:v>
                </c:pt>
                <c:pt idx="916" formatCode="m/d/yyyy">
                  <c:v>37974</c:v>
                </c:pt>
                <c:pt idx="917" formatCode="m/d/yyyy">
                  <c:v>37977</c:v>
                </c:pt>
                <c:pt idx="918" formatCode="m/d/yyyy">
                  <c:v>37978</c:v>
                </c:pt>
                <c:pt idx="919" formatCode="m/d/yyyy">
                  <c:v>37984</c:v>
                </c:pt>
                <c:pt idx="920" formatCode="m/d/yyyy">
                  <c:v>37985</c:v>
                </c:pt>
                <c:pt idx="921" formatCode="m/d/yyyy">
                  <c:v>37986</c:v>
                </c:pt>
                <c:pt idx="922" formatCode="m/d/yyyy">
                  <c:v>37991</c:v>
                </c:pt>
                <c:pt idx="923" formatCode="m/d/yyyy">
                  <c:v>37992</c:v>
                </c:pt>
                <c:pt idx="924" formatCode="m/d/yyyy">
                  <c:v>37993</c:v>
                </c:pt>
                <c:pt idx="925" formatCode="m/d/yyyy">
                  <c:v>37994</c:v>
                </c:pt>
                <c:pt idx="926" formatCode="m/d/yyyy">
                  <c:v>37995</c:v>
                </c:pt>
                <c:pt idx="927" formatCode="m/d/yyyy">
                  <c:v>37996</c:v>
                </c:pt>
                <c:pt idx="928" formatCode="m/d/yyyy">
                  <c:v>37998</c:v>
                </c:pt>
                <c:pt idx="929" formatCode="m/d/yyyy">
                  <c:v>37999</c:v>
                </c:pt>
                <c:pt idx="930" formatCode="m/d/yyyy">
                  <c:v>38000</c:v>
                </c:pt>
                <c:pt idx="931" formatCode="m/d/yyyy">
                  <c:v>38001</c:v>
                </c:pt>
                <c:pt idx="932" formatCode="m/d/yyyy">
                  <c:v>38002</c:v>
                </c:pt>
                <c:pt idx="933" formatCode="m/d/yyyy">
                  <c:v>38005</c:v>
                </c:pt>
                <c:pt idx="934" formatCode="m/d/yyyy">
                  <c:v>38006</c:v>
                </c:pt>
                <c:pt idx="935" formatCode="m/d/yyyy">
                  <c:v>38007</c:v>
                </c:pt>
                <c:pt idx="936" formatCode="m/d/yyyy">
                  <c:v>38008</c:v>
                </c:pt>
                <c:pt idx="937" formatCode="m/d/yyyy">
                  <c:v>38009</c:v>
                </c:pt>
                <c:pt idx="938" formatCode="m/d/yyyy">
                  <c:v>38012</c:v>
                </c:pt>
                <c:pt idx="939" formatCode="m/d/yyyy">
                  <c:v>38013</c:v>
                </c:pt>
                <c:pt idx="940" formatCode="m/d/yyyy">
                  <c:v>38014</c:v>
                </c:pt>
                <c:pt idx="941" formatCode="m/d/yyyy">
                  <c:v>38015</c:v>
                </c:pt>
                <c:pt idx="942" formatCode="m/d/yyyy">
                  <c:v>38016</c:v>
                </c:pt>
                <c:pt idx="943" formatCode="m/d/yyyy">
                  <c:v>38019</c:v>
                </c:pt>
                <c:pt idx="944" formatCode="m/d/yyyy">
                  <c:v>38020</c:v>
                </c:pt>
                <c:pt idx="945" formatCode="m/d/yyyy">
                  <c:v>38021</c:v>
                </c:pt>
                <c:pt idx="946" formatCode="m/d/yyyy">
                  <c:v>38022</c:v>
                </c:pt>
                <c:pt idx="947" formatCode="m/d/yyyy">
                  <c:v>38023</c:v>
                </c:pt>
                <c:pt idx="948" formatCode="m/d/yyyy">
                  <c:v>38026</c:v>
                </c:pt>
                <c:pt idx="949" formatCode="m/d/yyyy">
                  <c:v>38027</c:v>
                </c:pt>
                <c:pt idx="950" formatCode="m/d/yyyy">
                  <c:v>38028</c:v>
                </c:pt>
                <c:pt idx="951" formatCode="m/d/yyyy">
                  <c:v>38029</c:v>
                </c:pt>
                <c:pt idx="952" formatCode="m/d/yyyy">
                  <c:v>38030</c:v>
                </c:pt>
                <c:pt idx="953" formatCode="m/d/yyyy">
                  <c:v>38033</c:v>
                </c:pt>
                <c:pt idx="954" formatCode="m/d/yyyy">
                  <c:v>38034</c:v>
                </c:pt>
                <c:pt idx="955" formatCode="m/d/yyyy">
                  <c:v>38035</c:v>
                </c:pt>
                <c:pt idx="956" formatCode="m/d/yyyy">
                  <c:v>38036</c:v>
                </c:pt>
                <c:pt idx="957" formatCode="m/d/yyyy">
                  <c:v>38037</c:v>
                </c:pt>
                <c:pt idx="958" formatCode="m/d/yyyy">
                  <c:v>38040</c:v>
                </c:pt>
                <c:pt idx="959" formatCode="m/d/yyyy">
                  <c:v>38041</c:v>
                </c:pt>
                <c:pt idx="960" formatCode="m/d/yyyy">
                  <c:v>38042</c:v>
                </c:pt>
                <c:pt idx="961" formatCode="m/d/yyyy">
                  <c:v>38043</c:v>
                </c:pt>
                <c:pt idx="962" formatCode="m/d/yyyy">
                  <c:v>38044</c:v>
                </c:pt>
                <c:pt idx="963" formatCode="m/d/yyyy">
                  <c:v>38047</c:v>
                </c:pt>
                <c:pt idx="964" formatCode="m/d/yyyy">
                  <c:v>38048</c:v>
                </c:pt>
                <c:pt idx="965" formatCode="m/d/yyyy">
                  <c:v>38049</c:v>
                </c:pt>
                <c:pt idx="966" formatCode="m/d/yyyy">
                  <c:v>38050</c:v>
                </c:pt>
                <c:pt idx="967" formatCode="m/d/yyyy">
                  <c:v>38051</c:v>
                </c:pt>
                <c:pt idx="968" formatCode="m/d/yyyy">
                  <c:v>38054</c:v>
                </c:pt>
                <c:pt idx="969" formatCode="m/d/yyyy">
                  <c:v>38055</c:v>
                </c:pt>
                <c:pt idx="970" formatCode="m/d/yyyy">
                  <c:v>38056</c:v>
                </c:pt>
                <c:pt idx="971" formatCode="m/d/yyyy">
                  <c:v>38057</c:v>
                </c:pt>
                <c:pt idx="972" formatCode="m/d/yyyy">
                  <c:v>38058</c:v>
                </c:pt>
                <c:pt idx="973" formatCode="m/d/yyyy">
                  <c:v>38062</c:v>
                </c:pt>
                <c:pt idx="974" formatCode="m/d/yyyy">
                  <c:v>38063</c:v>
                </c:pt>
                <c:pt idx="975" formatCode="m/d/yyyy">
                  <c:v>38064</c:v>
                </c:pt>
                <c:pt idx="976" formatCode="m/d/yyyy">
                  <c:v>38065</c:v>
                </c:pt>
                <c:pt idx="977" formatCode="m/d/yyyy">
                  <c:v>38068</c:v>
                </c:pt>
                <c:pt idx="978" formatCode="m/d/yyyy">
                  <c:v>38069</c:v>
                </c:pt>
                <c:pt idx="979" formatCode="m/d/yyyy">
                  <c:v>38070</c:v>
                </c:pt>
                <c:pt idx="980" formatCode="m/d/yyyy">
                  <c:v>38071</c:v>
                </c:pt>
                <c:pt idx="981" formatCode="m/d/yyyy">
                  <c:v>38072</c:v>
                </c:pt>
                <c:pt idx="982" formatCode="m/d/yyyy">
                  <c:v>38075</c:v>
                </c:pt>
                <c:pt idx="983" formatCode="m/d/yyyy">
                  <c:v>38076</c:v>
                </c:pt>
                <c:pt idx="984" formatCode="m/d/yyyy">
                  <c:v>38077</c:v>
                </c:pt>
                <c:pt idx="985" formatCode="m/d/yyyy">
                  <c:v>38078</c:v>
                </c:pt>
                <c:pt idx="986" formatCode="m/d/yyyy">
                  <c:v>38079</c:v>
                </c:pt>
                <c:pt idx="987" formatCode="m/d/yyyy">
                  <c:v>38082</c:v>
                </c:pt>
                <c:pt idx="988" formatCode="m/d/yyyy">
                  <c:v>38083</c:v>
                </c:pt>
                <c:pt idx="989" formatCode="m/d/yyyy">
                  <c:v>38084</c:v>
                </c:pt>
                <c:pt idx="990" formatCode="m/d/yyyy">
                  <c:v>38085</c:v>
                </c:pt>
                <c:pt idx="991" formatCode="m/d/yyyy">
                  <c:v>38086</c:v>
                </c:pt>
                <c:pt idx="992" formatCode="m/d/yyyy">
                  <c:v>38090</c:v>
                </c:pt>
                <c:pt idx="993" formatCode="m/d/yyyy">
                  <c:v>38091</c:v>
                </c:pt>
                <c:pt idx="994" formatCode="m/d/yyyy">
                  <c:v>38092</c:v>
                </c:pt>
                <c:pt idx="995" formatCode="m/d/yyyy">
                  <c:v>38093</c:v>
                </c:pt>
                <c:pt idx="996" formatCode="m/d/yyyy">
                  <c:v>38096</c:v>
                </c:pt>
                <c:pt idx="997" formatCode="m/d/yyyy">
                  <c:v>38097</c:v>
                </c:pt>
                <c:pt idx="998" formatCode="m/d/yyyy">
                  <c:v>38098</c:v>
                </c:pt>
                <c:pt idx="999" formatCode="m/d/yyyy">
                  <c:v>38099</c:v>
                </c:pt>
                <c:pt idx="1000" formatCode="m/d/yyyy">
                  <c:v>38100</c:v>
                </c:pt>
                <c:pt idx="1001" formatCode="m/d/yyyy">
                  <c:v>38103</c:v>
                </c:pt>
                <c:pt idx="1002" formatCode="m/d/yyyy">
                  <c:v>38104</c:v>
                </c:pt>
                <c:pt idx="1003" formatCode="m/d/yyyy">
                  <c:v>38105</c:v>
                </c:pt>
                <c:pt idx="1004" formatCode="m/d/yyyy">
                  <c:v>38106</c:v>
                </c:pt>
                <c:pt idx="1005" formatCode="m/d/yyyy">
                  <c:v>38107</c:v>
                </c:pt>
                <c:pt idx="1006" formatCode="m/d/yyyy">
                  <c:v>38110</c:v>
                </c:pt>
                <c:pt idx="1007" formatCode="m/d/yyyy">
                  <c:v>38111</c:v>
                </c:pt>
                <c:pt idx="1008" formatCode="m/d/yyyy">
                  <c:v>38112</c:v>
                </c:pt>
                <c:pt idx="1009" formatCode="m/d/yyyy">
                  <c:v>38113</c:v>
                </c:pt>
                <c:pt idx="1010" formatCode="m/d/yyyy">
                  <c:v>38114</c:v>
                </c:pt>
                <c:pt idx="1011" formatCode="m/d/yyyy">
                  <c:v>38117</c:v>
                </c:pt>
                <c:pt idx="1012" formatCode="m/d/yyyy">
                  <c:v>38118</c:v>
                </c:pt>
                <c:pt idx="1013" formatCode="m/d/yyyy">
                  <c:v>38119</c:v>
                </c:pt>
                <c:pt idx="1014" formatCode="m/d/yyyy">
                  <c:v>38120</c:v>
                </c:pt>
                <c:pt idx="1015" formatCode="m/d/yyyy">
                  <c:v>38121</c:v>
                </c:pt>
                <c:pt idx="1016" formatCode="m/d/yyyy">
                  <c:v>38124</c:v>
                </c:pt>
                <c:pt idx="1017" formatCode="m/d/yyyy">
                  <c:v>38125</c:v>
                </c:pt>
                <c:pt idx="1018" formatCode="m/d/yyyy">
                  <c:v>38126</c:v>
                </c:pt>
                <c:pt idx="1019" formatCode="m/d/yyyy">
                  <c:v>38127</c:v>
                </c:pt>
                <c:pt idx="1020" formatCode="m/d/yyyy">
                  <c:v>38128</c:v>
                </c:pt>
                <c:pt idx="1021" formatCode="m/d/yyyy">
                  <c:v>38131</c:v>
                </c:pt>
                <c:pt idx="1022" formatCode="m/d/yyyy">
                  <c:v>38132</c:v>
                </c:pt>
                <c:pt idx="1023" formatCode="m/d/yyyy">
                  <c:v>38133</c:v>
                </c:pt>
                <c:pt idx="1024" formatCode="m/d/yyyy">
                  <c:v>38134</c:v>
                </c:pt>
                <c:pt idx="1025" formatCode="m/d/yyyy">
                  <c:v>38135</c:v>
                </c:pt>
                <c:pt idx="1026" formatCode="m/d/yyyy">
                  <c:v>38139</c:v>
                </c:pt>
                <c:pt idx="1027" formatCode="m/d/yyyy">
                  <c:v>38140</c:v>
                </c:pt>
                <c:pt idx="1028" formatCode="m/d/yyyy">
                  <c:v>38141</c:v>
                </c:pt>
                <c:pt idx="1029" formatCode="m/d/yyyy">
                  <c:v>38142</c:v>
                </c:pt>
                <c:pt idx="1030" formatCode="m/d/yyyy">
                  <c:v>38145</c:v>
                </c:pt>
                <c:pt idx="1031" formatCode="m/d/yyyy">
                  <c:v>38146</c:v>
                </c:pt>
                <c:pt idx="1032" formatCode="m/d/yyyy">
                  <c:v>38147</c:v>
                </c:pt>
                <c:pt idx="1033" formatCode="m/d/yyyy">
                  <c:v>38148</c:v>
                </c:pt>
                <c:pt idx="1034" formatCode="m/d/yyyy">
                  <c:v>38149</c:v>
                </c:pt>
                <c:pt idx="1035" formatCode="m/d/yyyy">
                  <c:v>38152</c:v>
                </c:pt>
                <c:pt idx="1036" formatCode="m/d/yyyy">
                  <c:v>38153</c:v>
                </c:pt>
                <c:pt idx="1037" formatCode="m/d/yyyy">
                  <c:v>38154</c:v>
                </c:pt>
                <c:pt idx="1038" formatCode="m/d/yyyy">
                  <c:v>38155</c:v>
                </c:pt>
                <c:pt idx="1039" formatCode="m/d/yyyy">
                  <c:v>38156</c:v>
                </c:pt>
                <c:pt idx="1040" formatCode="m/d/yyyy">
                  <c:v>38159</c:v>
                </c:pt>
                <c:pt idx="1041" formatCode="m/d/yyyy">
                  <c:v>38160</c:v>
                </c:pt>
                <c:pt idx="1042" formatCode="m/d/yyyy">
                  <c:v>38161</c:v>
                </c:pt>
                <c:pt idx="1043" formatCode="m/d/yyyy">
                  <c:v>38162</c:v>
                </c:pt>
                <c:pt idx="1044" formatCode="m/d/yyyy">
                  <c:v>38163</c:v>
                </c:pt>
                <c:pt idx="1045" formatCode="m/d/yyyy">
                  <c:v>38166</c:v>
                </c:pt>
                <c:pt idx="1046" formatCode="m/d/yyyy">
                  <c:v>38167</c:v>
                </c:pt>
                <c:pt idx="1047" formatCode="m/d/yyyy">
                  <c:v>38168</c:v>
                </c:pt>
                <c:pt idx="1048" formatCode="m/d/yyyy">
                  <c:v>38169</c:v>
                </c:pt>
                <c:pt idx="1049" formatCode="m/d/yyyy">
                  <c:v>38170</c:v>
                </c:pt>
                <c:pt idx="1050" formatCode="m/d/yyyy">
                  <c:v>38173</c:v>
                </c:pt>
                <c:pt idx="1051" formatCode="m/d/yyyy">
                  <c:v>38174</c:v>
                </c:pt>
                <c:pt idx="1052" formatCode="m/d/yyyy">
                  <c:v>38175</c:v>
                </c:pt>
                <c:pt idx="1053" formatCode="m/d/yyyy">
                  <c:v>38176</c:v>
                </c:pt>
                <c:pt idx="1054" formatCode="m/d/yyyy">
                  <c:v>38177</c:v>
                </c:pt>
                <c:pt idx="1055" formatCode="m/d/yyyy">
                  <c:v>38180</c:v>
                </c:pt>
                <c:pt idx="1056" formatCode="m/d/yyyy">
                  <c:v>38181</c:v>
                </c:pt>
                <c:pt idx="1057" formatCode="m/d/yyyy">
                  <c:v>38182</c:v>
                </c:pt>
                <c:pt idx="1058" formatCode="m/d/yyyy">
                  <c:v>38183</c:v>
                </c:pt>
                <c:pt idx="1059" formatCode="m/d/yyyy">
                  <c:v>38184</c:v>
                </c:pt>
                <c:pt idx="1060" formatCode="m/d/yyyy">
                  <c:v>38187</c:v>
                </c:pt>
                <c:pt idx="1061" formatCode="m/d/yyyy">
                  <c:v>38188</c:v>
                </c:pt>
                <c:pt idx="1062" formatCode="m/d/yyyy">
                  <c:v>38189</c:v>
                </c:pt>
                <c:pt idx="1063" formatCode="m/d/yyyy">
                  <c:v>38190</c:v>
                </c:pt>
                <c:pt idx="1064" formatCode="m/d/yyyy">
                  <c:v>38191</c:v>
                </c:pt>
                <c:pt idx="1065" formatCode="m/d/yyyy">
                  <c:v>38194</c:v>
                </c:pt>
                <c:pt idx="1066" formatCode="m/d/yyyy">
                  <c:v>38195</c:v>
                </c:pt>
                <c:pt idx="1067" formatCode="m/d/yyyy">
                  <c:v>38196</c:v>
                </c:pt>
                <c:pt idx="1068" formatCode="m/d/yyyy">
                  <c:v>38197</c:v>
                </c:pt>
                <c:pt idx="1069" formatCode="m/d/yyyy">
                  <c:v>38198</c:v>
                </c:pt>
                <c:pt idx="1070" formatCode="m/d/yyyy">
                  <c:v>38201</c:v>
                </c:pt>
                <c:pt idx="1071" formatCode="m/d/yyyy">
                  <c:v>38202</c:v>
                </c:pt>
                <c:pt idx="1072" formatCode="m/d/yyyy">
                  <c:v>38203</c:v>
                </c:pt>
                <c:pt idx="1073" formatCode="m/d/yyyy">
                  <c:v>38204</c:v>
                </c:pt>
                <c:pt idx="1074" formatCode="m/d/yyyy">
                  <c:v>38205</c:v>
                </c:pt>
                <c:pt idx="1075" formatCode="m/d/yyyy">
                  <c:v>38208</c:v>
                </c:pt>
                <c:pt idx="1076" formatCode="m/d/yyyy">
                  <c:v>38209</c:v>
                </c:pt>
                <c:pt idx="1077" formatCode="m/d/yyyy">
                  <c:v>38210</c:v>
                </c:pt>
                <c:pt idx="1078" formatCode="m/d/yyyy">
                  <c:v>38211</c:v>
                </c:pt>
                <c:pt idx="1079" formatCode="m/d/yyyy">
                  <c:v>38212</c:v>
                </c:pt>
                <c:pt idx="1080" formatCode="m/d/yyyy">
                  <c:v>38215</c:v>
                </c:pt>
                <c:pt idx="1081" formatCode="m/d/yyyy">
                  <c:v>38216</c:v>
                </c:pt>
                <c:pt idx="1082" formatCode="m/d/yyyy">
                  <c:v>38217</c:v>
                </c:pt>
                <c:pt idx="1083" formatCode="m/d/yyyy">
                  <c:v>38218</c:v>
                </c:pt>
                <c:pt idx="1084" formatCode="m/d/yyyy">
                  <c:v>38222</c:v>
                </c:pt>
                <c:pt idx="1085" formatCode="m/d/yyyy">
                  <c:v>38223</c:v>
                </c:pt>
                <c:pt idx="1086" formatCode="m/d/yyyy">
                  <c:v>38224</c:v>
                </c:pt>
                <c:pt idx="1087" formatCode="m/d/yyyy">
                  <c:v>38225</c:v>
                </c:pt>
                <c:pt idx="1088" formatCode="m/d/yyyy">
                  <c:v>38226</c:v>
                </c:pt>
                <c:pt idx="1089" formatCode="m/d/yyyy">
                  <c:v>38229</c:v>
                </c:pt>
                <c:pt idx="1090" formatCode="m/d/yyyy">
                  <c:v>38230</c:v>
                </c:pt>
                <c:pt idx="1091" formatCode="m/d/yyyy">
                  <c:v>38231</c:v>
                </c:pt>
                <c:pt idx="1092" formatCode="m/d/yyyy">
                  <c:v>38232</c:v>
                </c:pt>
                <c:pt idx="1093" formatCode="m/d/yyyy">
                  <c:v>38233</c:v>
                </c:pt>
                <c:pt idx="1094" formatCode="m/d/yyyy">
                  <c:v>38236</c:v>
                </c:pt>
                <c:pt idx="1095" formatCode="m/d/yyyy">
                  <c:v>38237</c:v>
                </c:pt>
                <c:pt idx="1096" formatCode="m/d/yyyy">
                  <c:v>38238</c:v>
                </c:pt>
                <c:pt idx="1097" formatCode="m/d/yyyy">
                  <c:v>38239</c:v>
                </c:pt>
                <c:pt idx="1098" formatCode="m/d/yyyy">
                  <c:v>38240</c:v>
                </c:pt>
                <c:pt idx="1099" formatCode="m/d/yyyy">
                  <c:v>38243</c:v>
                </c:pt>
                <c:pt idx="1100" formatCode="m/d/yyyy">
                  <c:v>38244</c:v>
                </c:pt>
                <c:pt idx="1101" formatCode="m/d/yyyy">
                  <c:v>38245</c:v>
                </c:pt>
                <c:pt idx="1102" formatCode="m/d/yyyy">
                  <c:v>38246</c:v>
                </c:pt>
                <c:pt idx="1103" formatCode="m/d/yyyy">
                  <c:v>38247</c:v>
                </c:pt>
                <c:pt idx="1104" formatCode="m/d/yyyy">
                  <c:v>38250</c:v>
                </c:pt>
                <c:pt idx="1105" formatCode="m/d/yyyy">
                  <c:v>38251</c:v>
                </c:pt>
                <c:pt idx="1106" formatCode="m/d/yyyy">
                  <c:v>38252</c:v>
                </c:pt>
                <c:pt idx="1107" formatCode="m/d/yyyy">
                  <c:v>38253</c:v>
                </c:pt>
                <c:pt idx="1108" formatCode="m/d/yyyy">
                  <c:v>38254</c:v>
                </c:pt>
                <c:pt idx="1109" formatCode="m/d/yyyy">
                  <c:v>38257</c:v>
                </c:pt>
                <c:pt idx="1110" formatCode="m/d/yyyy">
                  <c:v>38258</c:v>
                </c:pt>
                <c:pt idx="1111" formatCode="m/d/yyyy">
                  <c:v>38259</c:v>
                </c:pt>
                <c:pt idx="1112" formatCode="m/d/yyyy">
                  <c:v>38260</c:v>
                </c:pt>
                <c:pt idx="1113" formatCode="m/d/yyyy">
                  <c:v>38261</c:v>
                </c:pt>
                <c:pt idx="1114" formatCode="m/d/yyyy">
                  <c:v>38264</c:v>
                </c:pt>
                <c:pt idx="1115" formatCode="m/d/yyyy">
                  <c:v>38265</c:v>
                </c:pt>
                <c:pt idx="1116" formatCode="m/d/yyyy">
                  <c:v>38266</c:v>
                </c:pt>
                <c:pt idx="1117" formatCode="m/d/yyyy">
                  <c:v>38267</c:v>
                </c:pt>
                <c:pt idx="1118" formatCode="m/d/yyyy">
                  <c:v>38268</c:v>
                </c:pt>
                <c:pt idx="1119" formatCode="m/d/yyyy">
                  <c:v>38271</c:v>
                </c:pt>
                <c:pt idx="1120" formatCode="m/d/yyyy">
                  <c:v>38272</c:v>
                </c:pt>
                <c:pt idx="1121" formatCode="m/d/yyyy">
                  <c:v>38273</c:v>
                </c:pt>
                <c:pt idx="1122" formatCode="m/d/yyyy">
                  <c:v>38274</c:v>
                </c:pt>
                <c:pt idx="1123" formatCode="m/d/yyyy">
                  <c:v>38275</c:v>
                </c:pt>
                <c:pt idx="1124" formatCode="m/d/yyyy">
                  <c:v>38278</c:v>
                </c:pt>
                <c:pt idx="1125" formatCode="m/d/yyyy">
                  <c:v>38279</c:v>
                </c:pt>
                <c:pt idx="1126" formatCode="m/d/yyyy">
                  <c:v>38280</c:v>
                </c:pt>
                <c:pt idx="1127" formatCode="m/d/yyyy">
                  <c:v>38281</c:v>
                </c:pt>
                <c:pt idx="1128" formatCode="m/d/yyyy">
                  <c:v>38282</c:v>
                </c:pt>
                <c:pt idx="1129" formatCode="m/d/yyyy">
                  <c:v>38285</c:v>
                </c:pt>
                <c:pt idx="1130" formatCode="m/d/yyyy">
                  <c:v>38286</c:v>
                </c:pt>
                <c:pt idx="1131" formatCode="m/d/yyyy">
                  <c:v>38287</c:v>
                </c:pt>
                <c:pt idx="1132" formatCode="m/d/yyyy">
                  <c:v>38288</c:v>
                </c:pt>
                <c:pt idx="1133" formatCode="m/d/yyyy">
                  <c:v>38289</c:v>
                </c:pt>
                <c:pt idx="1134" formatCode="m/d/yyyy">
                  <c:v>38293</c:v>
                </c:pt>
                <c:pt idx="1135" formatCode="m/d/yyyy">
                  <c:v>38294</c:v>
                </c:pt>
                <c:pt idx="1136" formatCode="m/d/yyyy">
                  <c:v>38295</c:v>
                </c:pt>
                <c:pt idx="1137" formatCode="m/d/yyyy">
                  <c:v>38296</c:v>
                </c:pt>
                <c:pt idx="1138" formatCode="m/d/yyyy">
                  <c:v>38299</c:v>
                </c:pt>
                <c:pt idx="1139" formatCode="m/d/yyyy">
                  <c:v>38300</c:v>
                </c:pt>
                <c:pt idx="1140" formatCode="m/d/yyyy">
                  <c:v>38301</c:v>
                </c:pt>
                <c:pt idx="1141" formatCode="m/d/yyyy">
                  <c:v>38302</c:v>
                </c:pt>
                <c:pt idx="1142" formatCode="m/d/yyyy">
                  <c:v>38303</c:v>
                </c:pt>
                <c:pt idx="1143" formatCode="m/d/yyyy">
                  <c:v>38306</c:v>
                </c:pt>
                <c:pt idx="1144" formatCode="m/d/yyyy">
                  <c:v>38307</c:v>
                </c:pt>
                <c:pt idx="1145" formatCode="m/d/yyyy">
                  <c:v>38308</c:v>
                </c:pt>
                <c:pt idx="1146" formatCode="m/d/yyyy">
                  <c:v>38309</c:v>
                </c:pt>
                <c:pt idx="1147" formatCode="m/d/yyyy">
                  <c:v>38310</c:v>
                </c:pt>
                <c:pt idx="1148" formatCode="m/d/yyyy">
                  <c:v>38313</c:v>
                </c:pt>
                <c:pt idx="1149" formatCode="m/d/yyyy">
                  <c:v>38314</c:v>
                </c:pt>
                <c:pt idx="1150" formatCode="m/d/yyyy">
                  <c:v>38315</c:v>
                </c:pt>
                <c:pt idx="1151" formatCode="m/d/yyyy">
                  <c:v>38316</c:v>
                </c:pt>
                <c:pt idx="1152" formatCode="m/d/yyyy">
                  <c:v>38317</c:v>
                </c:pt>
                <c:pt idx="1153" formatCode="m/d/yyyy">
                  <c:v>38320</c:v>
                </c:pt>
                <c:pt idx="1154" formatCode="m/d/yyyy">
                  <c:v>38321</c:v>
                </c:pt>
                <c:pt idx="1155" formatCode="m/d/yyyy">
                  <c:v>38322</c:v>
                </c:pt>
                <c:pt idx="1156" formatCode="m/d/yyyy">
                  <c:v>38323</c:v>
                </c:pt>
                <c:pt idx="1157" formatCode="m/d/yyyy">
                  <c:v>38324</c:v>
                </c:pt>
                <c:pt idx="1158" formatCode="m/d/yyyy">
                  <c:v>38327</c:v>
                </c:pt>
                <c:pt idx="1159" formatCode="m/d/yyyy">
                  <c:v>38328</c:v>
                </c:pt>
                <c:pt idx="1160" formatCode="m/d/yyyy">
                  <c:v>38329</c:v>
                </c:pt>
                <c:pt idx="1161" formatCode="m/d/yyyy">
                  <c:v>38330</c:v>
                </c:pt>
                <c:pt idx="1162" formatCode="m/d/yyyy">
                  <c:v>38331</c:v>
                </c:pt>
                <c:pt idx="1163" formatCode="m/d/yyyy">
                  <c:v>38334</c:v>
                </c:pt>
                <c:pt idx="1164" formatCode="m/d/yyyy">
                  <c:v>38335</c:v>
                </c:pt>
                <c:pt idx="1165" formatCode="m/d/yyyy">
                  <c:v>38336</c:v>
                </c:pt>
                <c:pt idx="1166" formatCode="m/d/yyyy">
                  <c:v>38337</c:v>
                </c:pt>
                <c:pt idx="1167" formatCode="m/d/yyyy">
                  <c:v>38338</c:v>
                </c:pt>
                <c:pt idx="1168" formatCode="m/d/yyyy">
                  <c:v>38339</c:v>
                </c:pt>
                <c:pt idx="1169" formatCode="m/d/yyyy">
                  <c:v>38341</c:v>
                </c:pt>
                <c:pt idx="1170" formatCode="m/d/yyyy">
                  <c:v>38342</c:v>
                </c:pt>
                <c:pt idx="1171" formatCode="m/d/yyyy">
                  <c:v>38343</c:v>
                </c:pt>
                <c:pt idx="1172" formatCode="m/d/yyyy">
                  <c:v>38344</c:v>
                </c:pt>
                <c:pt idx="1173" formatCode="m/d/yyyy">
                  <c:v>38348</c:v>
                </c:pt>
                <c:pt idx="1174" formatCode="m/d/yyyy">
                  <c:v>38349</c:v>
                </c:pt>
                <c:pt idx="1175" formatCode="m/d/yyyy">
                  <c:v>38350</c:v>
                </c:pt>
                <c:pt idx="1176" formatCode="m/d/yyyy">
                  <c:v>38351</c:v>
                </c:pt>
                <c:pt idx="1177" formatCode="m/d/yyyy">
                  <c:v>38352</c:v>
                </c:pt>
                <c:pt idx="1178" formatCode="m/d/yyyy">
                  <c:v>38355</c:v>
                </c:pt>
                <c:pt idx="1179" formatCode="m/d/yyyy">
                  <c:v>38356</c:v>
                </c:pt>
                <c:pt idx="1180" formatCode="m/d/yyyy">
                  <c:v>38357</c:v>
                </c:pt>
                <c:pt idx="1181" formatCode="m/d/yyyy">
                  <c:v>38358</c:v>
                </c:pt>
                <c:pt idx="1182" formatCode="m/d/yyyy">
                  <c:v>38359</c:v>
                </c:pt>
                <c:pt idx="1183" formatCode="m/d/yyyy">
                  <c:v>38362</c:v>
                </c:pt>
                <c:pt idx="1184" formatCode="m/d/yyyy">
                  <c:v>38363</c:v>
                </c:pt>
                <c:pt idx="1185" formatCode="m/d/yyyy">
                  <c:v>38364</c:v>
                </c:pt>
                <c:pt idx="1186" formatCode="m/d/yyyy">
                  <c:v>38365</c:v>
                </c:pt>
                <c:pt idx="1187" formatCode="m/d/yyyy">
                  <c:v>38366</c:v>
                </c:pt>
                <c:pt idx="1188" formatCode="m/d/yyyy">
                  <c:v>38369</c:v>
                </c:pt>
                <c:pt idx="1189" formatCode="m/d/yyyy">
                  <c:v>38370</c:v>
                </c:pt>
                <c:pt idx="1190" formatCode="m/d/yyyy">
                  <c:v>38371</c:v>
                </c:pt>
                <c:pt idx="1191" formatCode="m/d/yyyy">
                  <c:v>38372</c:v>
                </c:pt>
                <c:pt idx="1192" formatCode="m/d/yyyy">
                  <c:v>38373</c:v>
                </c:pt>
                <c:pt idx="1193" formatCode="m/d/yyyy">
                  <c:v>38376</c:v>
                </c:pt>
                <c:pt idx="1194" formatCode="m/d/yyyy">
                  <c:v>38377</c:v>
                </c:pt>
                <c:pt idx="1195" formatCode="m/d/yyyy">
                  <c:v>38378</c:v>
                </c:pt>
                <c:pt idx="1196" formatCode="m/d/yyyy">
                  <c:v>38379</c:v>
                </c:pt>
                <c:pt idx="1197" formatCode="m/d/yyyy">
                  <c:v>38380</c:v>
                </c:pt>
                <c:pt idx="1198" formatCode="m/d/yyyy">
                  <c:v>38383</c:v>
                </c:pt>
                <c:pt idx="1199" formatCode="m/d/yyyy">
                  <c:v>38384</c:v>
                </c:pt>
                <c:pt idx="1200" formatCode="m/d/yyyy">
                  <c:v>38385</c:v>
                </c:pt>
                <c:pt idx="1201" formatCode="m/d/yyyy">
                  <c:v>38386</c:v>
                </c:pt>
                <c:pt idx="1202" formatCode="m/d/yyyy">
                  <c:v>38387</c:v>
                </c:pt>
                <c:pt idx="1203" formatCode="m/d/yyyy">
                  <c:v>38390</c:v>
                </c:pt>
                <c:pt idx="1204" formatCode="m/d/yyyy">
                  <c:v>38391</c:v>
                </c:pt>
                <c:pt idx="1205" formatCode="m/d/yyyy">
                  <c:v>38392</c:v>
                </c:pt>
                <c:pt idx="1206" formatCode="m/d/yyyy">
                  <c:v>38393</c:v>
                </c:pt>
                <c:pt idx="1207" formatCode="m/d/yyyy">
                  <c:v>38394</c:v>
                </c:pt>
                <c:pt idx="1208" formatCode="m/d/yyyy">
                  <c:v>38397</c:v>
                </c:pt>
                <c:pt idx="1209" formatCode="m/d/yyyy">
                  <c:v>38398</c:v>
                </c:pt>
                <c:pt idx="1210" formatCode="m/d/yyyy">
                  <c:v>38399</c:v>
                </c:pt>
                <c:pt idx="1211" formatCode="m/d/yyyy">
                  <c:v>38400</c:v>
                </c:pt>
                <c:pt idx="1212" formatCode="m/d/yyyy">
                  <c:v>38401</c:v>
                </c:pt>
                <c:pt idx="1213" formatCode="m/d/yyyy">
                  <c:v>38404</c:v>
                </c:pt>
                <c:pt idx="1214" formatCode="m/d/yyyy">
                  <c:v>38405</c:v>
                </c:pt>
                <c:pt idx="1215" formatCode="m/d/yyyy">
                  <c:v>38406</c:v>
                </c:pt>
                <c:pt idx="1216" formatCode="m/d/yyyy">
                  <c:v>38407</c:v>
                </c:pt>
                <c:pt idx="1217" formatCode="m/d/yyyy">
                  <c:v>38408</c:v>
                </c:pt>
                <c:pt idx="1218" formatCode="m/d/yyyy">
                  <c:v>38411</c:v>
                </c:pt>
                <c:pt idx="1219" formatCode="m/d/yyyy">
                  <c:v>38412</c:v>
                </c:pt>
                <c:pt idx="1220" formatCode="m/d/yyyy">
                  <c:v>38413</c:v>
                </c:pt>
                <c:pt idx="1221" formatCode="m/d/yyyy">
                  <c:v>38414</c:v>
                </c:pt>
                <c:pt idx="1222" formatCode="m/d/yyyy">
                  <c:v>38415</c:v>
                </c:pt>
                <c:pt idx="1223" formatCode="m/d/yyyy">
                  <c:v>38418</c:v>
                </c:pt>
                <c:pt idx="1224" formatCode="m/d/yyyy">
                  <c:v>38419</c:v>
                </c:pt>
                <c:pt idx="1225" formatCode="m/d/yyyy">
                  <c:v>38420</c:v>
                </c:pt>
                <c:pt idx="1226" formatCode="m/d/yyyy">
                  <c:v>38421</c:v>
                </c:pt>
                <c:pt idx="1227" formatCode="m/d/yyyy">
                  <c:v>38422</c:v>
                </c:pt>
                <c:pt idx="1228" formatCode="m/d/yyyy">
                  <c:v>38427</c:v>
                </c:pt>
                <c:pt idx="1229" formatCode="m/d/yyyy">
                  <c:v>38428</c:v>
                </c:pt>
                <c:pt idx="1230" formatCode="m/d/yyyy">
                  <c:v>38429</c:v>
                </c:pt>
                <c:pt idx="1231" formatCode="m/d/yyyy">
                  <c:v>38430</c:v>
                </c:pt>
                <c:pt idx="1232" formatCode="m/d/yyyy">
                  <c:v>38432</c:v>
                </c:pt>
                <c:pt idx="1233" formatCode="m/d/yyyy">
                  <c:v>38433</c:v>
                </c:pt>
                <c:pt idx="1234" formatCode="m/d/yyyy">
                  <c:v>38434</c:v>
                </c:pt>
                <c:pt idx="1235" formatCode="m/d/yyyy">
                  <c:v>38435</c:v>
                </c:pt>
                <c:pt idx="1236" formatCode="m/d/yyyy">
                  <c:v>38436</c:v>
                </c:pt>
                <c:pt idx="1237" formatCode="m/d/yyyy">
                  <c:v>38440</c:v>
                </c:pt>
                <c:pt idx="1238" formatCode="m/d/yyyy">
                  <c:v>38441</c:v>
                </c:pt>
                <c:pt idx="1239" formatCode="m/d/yyyy">
                  <c:v>38442</c:v>
                </c:pt>
                <c:pt idx="1240" formatCode="m/d/yyyy">
                  <c:v>38443</c:v>
                </c:pt>
                <c:pt idx="1241" formatCode="m/d/yyyy">
                  <c:v>38446</c:v>
                </c:pt>
                <c:pt idx="1242" formatCode="m/d/yyyy">
                  <c:v>38447</c:v>
                </c:pt>
                <c:pt idx="1243" formatCode="m/d/yyyy">
                  <c:v>38448</c:v>
                </c:pt>
                <c:pt idx="1244" formatCode="m/d/yyyy">
                  <c:v>38449</c:v>
                </c:pt>
                <c:pt idx="1245" formatCode="m/d/yyyy">
                  <c:v>38450</c:v>
                </c:pt>
                <c:pt idx="1246" formatCode="m/d/yyyy">
                  <c:v>38453</c:v>
                </c:pt>
                <c:pt idx="1247" formatCode="m/d/yyyy">
                  <c:v>38454</c:v>
                </c:pt>
                <c:pt idx="1248" formatCode="m/d/yyyy">
                  <c:v>38455</c:v>
                </c:pt>
                <c:pt idx="1249" formatCode="m/d/yyyy">
                  <c:v>38456</c:v>
                </c:pt>
                <c:pt idx="1250" formatCode="m/d/yyyy">
                  <c:v>38457</c:v>
                </c:pt>
                <c:pt idx="1251" formatCode="m/d/yyyy">
                  <c:v>38460</c:v>
                </c:pt>
                <c:pt idx="1252" formatCode="m/d/yyyy">
                  <c:v>38461</c:v>
                </c:pt>
                <c:pt idx="1253" formatCode="m/d/yyyy">
                  <c:v>38462</c:v>
                </c:pt>
                <c:pt idx="1254" formatCode="m/d/yyyy">
                  <c:v>38463</c:v>
                </c:pt>
                <c:pt idx="1255" formatCode="m/d/yyyy">
                  <c:v>38464</c:v>
                </c:pt>
                <c:pt idx="1256" formatCode="m/d/yyyy">
                  <c:v>38467</c:v>
                </c:pt>
                <c:pt idx="1257" formatCode="m/d/yyyy">
                  <c:v>38468</c:v>
                </c:pt>
                <c:pt idx="1258" formatCode="m/d/yyyy">
                  <c:v>38469</c:v>
                </c:pt>
                <c:pt idx="1259" formatCode="m/d/yyyy">
                  <c:v>38470</c:v>
                </c:pt>
                <c:pt idx="1260" formatCode="m/d/yyyy">
                  <c:v>38471</c:v>
                </c:pt>
                <c:pt idx="1261" formatCode="m/d/yyyy">
                  <c:v>38474</c:v>
                </c:pt>
                <c:pt idx="1262" formatCode="m/d/yyyy">
                  <c:v>38475</c:v>
                </c:pt>
                <c:pt idx="1263" formatCode="m/d/yyyy">
                  <c:v>38476</c:v>
                </c:pt>
                <c:pt idx="1264" formatCode="m/d/yyyy">
                  <c:v>38477</c:v>
                </c:pt>
                <c:pt idx="1265" formatCode="m/d/yyyy">
                  <c:v>38478</c:v>
                </c:pt>
                <c:pt idx="1266" formatCode="m/d/yyyy">
                  <c:v>38481</c:v>
                </c:pt>
                <c:pt idx="1267" formatCode="m/d/yyyy">
                  <c:v>38482</c:v>
                </c:pt>
                <c:pt idx="1268" formatCode="m/d/yyyy">
                  <c:v>38483</c:v>
                </c:pt>
                <c:pt idx="1269" formatCode="m/d/yyyy">
                  <c:v>38484</c:v>
                </c:pt>
                <c:pt idx="1270" formatCode="m/d/yyyy">
                  <c:v>38485</c:v>
                </c:pt>
                <c:pt idx="1271" formatCode="m/d/yyyy">
                  <c:v>38489</c:v>
                </c:pt>
                <c:pt idx="1272" formatCode="m/d/yyyy">
                  <c:v>38490</c:v>
                </c:pt>
                <c:pt idx="1273" formatCode="m/d/yyyy">
                  <c:v>38491</c:v>
                </c:pt>
                <c:pt idx="1274" formatCode="m/d/yyyy">
                  <c:v>38492</c:v>
                </c:pt>
                <c:pt idx="1275" formatCode="m/d/yyyy">
                  <c:v>38495</c:v>
                </c:pt>
                <c:pt idx="1276" formatCode="m/d/yyyy">
                  <c:v>38496</c:v>
                </c:pt>
                <c:pt idx="1277" formatCode="m/d/yyyy">
                  <c:v>38497</c:v>
                </c:pt>
                <c:pt idx="1278" formatCode="m/d/yyyy">
                  <c:v>38498</c:v>
                </c:pt>
                <c:pt idx="1279" formatCode="m/d/yyyy">
                  <c:v>38499</c:v>
                </c:pt>
                <c:pt idx="1280" formatCode="m/d/yyyy">
                  <c:v>38502</c:v>
                </c:pt>
                <c:pt idx="1281" formatCode="m/d/yyyy">
                  <c:v>38503</c:v>
                </c:pt>
                <c:pt idx="1282" formatCode="m/d/yyyy">
                  <c:v>38504</c:v>
                </c:pt>
                <c:pt idx="1283" formatCode="m/d/yyyy">
                  <c:v>38505</c:v>
                </c:pt>
                <c:pt idx="1284" formatCode="m/d/yyyy">
                  <c:v>38506</c:v>
                </c:pt>
                <c:pt idx="1285" formatCode="m/d/yyyy">
                  <c:v>38509</c:v>
                </c:pt>
                <c:pt idx="1286" formatCode="m/d/yyyy">
                  <c:v>38510</c:v>
                </c:pt>
                <c:pt idx="1287" formatCode="m/d/yyyy">
                  <c:v>38511</c:v>
                </c:pt>
                <c:pt idx="1288" formatCode="m/d/yyyy">
                  <c:v>38512</c:v>
                </c:pt>
                <c:pt idx="1289" formatCode="m/d/yyyy">
                  <c:v>38513</c:v>
                </c:pt>
                <c:pt idx="1290" formatCode="m/d/yyyy">
                  <c:v>38516</c:v>
                </c:pt>
                <c:pt idx="1291" formatCode="m/d/yyyy">
                  <c:v>38517</c:v>
                </c:pt>
                <c:pt idx="1292" formatCode="m/d/yyyy">
                  <c:v>38518</c:v>
                </c:pt>
                <c:pt idx="1293" formatCode="m/d/yyyy">
                  <c:v>38519</c:v>
                </c:pt>
                <c:pt idx="1294" formatCode="m/d/yyyy">
                  <c:v>38520</c:v>
                </c:pt>
                <c:pt idx="1295" formatCode="m/d/yyyy">
                  <c:v>38523</c:v>
                </c:pt>
                <c:pt idx="1296" formatCode="m/d/yyyy">
                  <c:v>38524</c:v>
                </c:pt>
                <c:pt idx="1297" formatCode="m/d/yyyy">
                  <c:v>38525</c:v>
                </c:pt>
                <c:pt idx="1298" formatCode="m/d/yyyy">
                  <c:v>38526</c:v>
                </c:pt>
                <c:pt idx="1299" formatCode="m/d/yyyy">
                  <c:v>38527</c:v>
                </c:pt>
                <c:pt idx="1300" formatCode="m/d/yyyy">
                  <c:v>38530</c:v>
                </c:pt>
                <c:pt idx="1301" formatCode="m/d/yyyy">
                  <c:v>38531</c:v>
                </c:pt>
                <c:pt idx="1302" formatCode="m/d/yyyy">
                  <c:v>38532</c:v>
                </c:pt>
                <c:pt idx="1303" formatCode="m/d/yyyy">
                  <c:v>38533</c:v>
                </c:pt>
                <c:pt idx="1304" formatCode="m/d/yyyy">
                  <c:v>38534</c:v>
                </c:pt>
                <c:pt idx="1305" formatCode="m/d/yyyy">
                  <c:v>38537</c:v>
                </c:pt>
                <c:pt idx="1306" formatCode="m/d/yyyy">
                  <c:v>38538</c:v>
                </c:pt>
                <c:pt idx="1307" formatCode="m/d/yyyy">
                  <c:v>38539</c:v>
                </c:pt>
                <c:pt idx="1308" formatCode="m/d/yyyy">
                  <c:v>38540</c:v>
                </c:pt>
                <c:pt idx="1309" formatCode="m/d/yyyy">
                  <c:v>38541</c:v>
                </c:pt>
                <c:pt idx="1310" formatCode="m/d/yyyy">
                  <c:v>38544</c:v>
                </c:pt>
                <c:pt idx="1311" formatCode="m/d/yyyy">
                  <c:v>38545</c:v>
                </c:pt>
                <c:pt idx="1312" formatCode="m/d/yyyy">
                  <c:v>38546</c:v>
                </c:pt>
                <c:pt idx="1313" formatCode="m/d/yyyy">
                  <c:v>38547</c:v>
                </c:pt>
                <c:pt idx="1314" formatCode="m/d/yyyy">
                  <c:v>38548</c:v>
                </c:pt>
                <c:pt idx="1315" formatCode="m/d/yyyy">
                  <c:v>38551</c:v>
                </c:pt>
                <c:pt idx="1316" formatCode="m/d/yyyy">
                  <c:v>38552</c:v>
                </c:pt>
                <c:pt idx="1317" formatCode="m/d/yyyy">
                  <c:v>38553</c:v>
                </c:pt>
                <c:pt idx="1318" formatCode="m/d/yyyy">
                  <c:v>38554</c:v>
                </c:pt>
                <c:pt idx="1319" formatCode="m/d/yyyy">
                  <c:v>38555</c:v>
                </c:pt>
                <c:pt idx="1320" formatCode="m/d/yyyy">
                  <c:v>38558</c:v>
                </c:pt>
                <c:pt idx="1321" formatCode="m/d/yyyy">
                  <c:v>38559</c:v>
                </c:pt>
                <c:pt idx="1322" formatCode="m/d/yyyy">
                  <c:v>38560</c:v>
                </c:pt>
                <c:pt idx="1323" formatCode="m/d/yyyy">
                  <c:v>38561</c:v>
                </c:pt>
                <c:pt idx="1324" formatCode="m/d/yyyy">
                  <c:v>38562</c:v>
                </c:pt>
                <c:pt idx="1325" formatCode="m/d/yyyy">
                  <c:v>38565</c:v>
                </c:pt>
                <c:pt idx="1326" formatCode="m/d/yyyy">
                  <c:v>38566</c:v>
                </c:pt>
                <c:pt idx="1327" formatCode="m/d/yyyy">
                  <c:v>38567</c:v>
                </c:pt>
                <c:pt idx="1328" formatCode="m/d/yyyy">
                  <c:v>38568</c:v>
                </c:pt>
                <c:pt idx="1329" formatCode="m/d/yyyy">
                  <c:v>38569</c:v>
                </c:pt>
                <c:pt idx="1330" formatCode="m/d/yyyy">
                  <c:v>38572</c:v>
                </c:pt>
                <c:pt idx="1331" formatCode="m/d/yyyy">
                  <c:v>38573</c:v>
                </c:pt>
                <c:pt idx="1332" formatCode="m/d/yyyy">
                  <c:v>38574</c:v>
                </c:pt>
                <c:pt idx="1333" formatCode="m/d/yyyy">
                  <c:v>38575</c:v>
                </c:pt>
                <c:pt idx="1334" formatCode="m/d/yyyy">
                  <c:v>38576</c:v>
                </c:pt>
                <c:pt idx="1335" formatCode="m/d/yyyy">
                  <c:v>38579</c:v>
                </c:pt>
                <c:pt idx="1336" formatCode="m/d/yyyy">
                  <c:v>38580</c:v>
                </c:pt>
                <c:pt idx="1337" formatCode="m/d/yyyy">
                  <c:v>38581</c:v>
                </c:pt>
                <c:pt idx="1338" formatCode="m/d/yyyy">
                  <c:v>38582</c:v>
                </c:pt>
                <c:pt idx="1339" formatCode="m/d/yyyy">
                  <c:v>38583</c:v>
                </c:pt>
                <c:pt idx="1340" formatCode="m/d/yyyy">
                  <c:v>38586</c:v>
                </c:pt>
                <c:pt idx="1341" formatCode="m/d/yyyy">
                  <c:v>38587</c:v>
                </c:pt>
                <c:pt idx="1342" formatCode="m/d/yyyy">
                  <c:v>38588</c:v>
                </c:pt>
                <c:pt idx="1343" formatCode="m/d/yyyy">
                  <c:v>38589</c:v>
                </c:pt>
                <c:pt idx="1344" formatCode="m/d/yyyy">
                  <c:v>38590</c:v>
                </c:pt>
                <c:pt idx="1345" formatCode="m/d/yyyy">
                  <c:v>38593</c:v>
                </c:pt>
                <c:pt idx="1346" formatCode="m/d/yyyy">
                  <c:v>38594</c:v>
                </c:pt>
                <c:pt idx="1347" formatCode="m/d/yyyy">
                  <c:v>38595</c:v>
                </c:pt>
                <c:pt idx="1348" formatCode="m/d/yyyy">
                  <c:v>38596</c:v>
                </c:pt>
                <c:pt idx="1349" formatCode="m/d/yyyy">
                  <c:v>38597</c:v>
                </c:pt>
                <c:pt idx="1350" formatCode="m/d/yyyy">
                  <c:v>38600</c:v>
                </c:pt>
                <c:pt idx="1351" formatCode="m/d/yyyy">
                  <c:v>38601</c:v>
                </c:pt>
                <c:pt idx="1352" formatCode="m/d/yyyy">
                  <c:v>38602</c:v>
                </c:pt>
                <c:pt idx="1353" formatCode="m/d/yyyy">
                  <c:v>38603</c:v>
                </c:pt>
                <c:pt idx="1354" formatCode="m/d/yyyy">
                  <c:v>38604</c:v>
                </c:pt>
                <c:pt idx="1355" formatCode="m/d/yyyy">
                  <c:v>38607</c:v>
                </c:pt>
                <c:pt idx="1356" formatCode="m/d/yyyy">
                  <c:v>38608</c:v>
                </c:pt>
                <c:pt idx="1357" formatCode="m/d/yyyy">
                  <c:v>38609</c:v>
                </c:pt>
                <c:pt idx="1358" formatCode="m/d/yyyy">
                  <c:v>38610</c:v>
                </c:pt>
                <c:pt idx="1359" formatCode="m/d/yyyy">
                  <c:v>38611</c:v>
                </c:pt>
                <c:pt idx="1360" formatCode="m/d/yyyy">
                  <c:v>38614</c:v>
                </c:pt>
                <c:pt idx="1361" formatCode="m/d/yyyy">
                  <c:v>38615</c:v>
                </c:pt>
                <c:pt idx="1362" formatCode="m/d/yyyy">
                  <c:v>38616</c:v>
                </c:pt>
                <c:pt idx="1363" formatCode="m/d/yyyy">
                  <c:v>38617</c:v>
                </c:pt>
                <c:pt idx="1364" formatCode="m/d/yyyy">
                  <c:v>38618</c:v>
                </c:pt>
                <c:pt idx="1365" formatCode="m/d/yyyy">
                  <c:v>38621</c:v>
                </c:pt>
                <c:pt idx="1366" formatCode="m/d/yyyy">
                  <c:v>38622</c:v>
                </c:pt>
                <c:pt idx="1367" formatCode="m/d/yyyy">
                  <c:v>38623</c:v>
                </c:pt>
                <c:pt idx="1368" formatCode="m/d/yyyy">
                  <c:v>38624</c:v>
                </c:pt>
                <c:pt idx="1369" formatCode="m/d/yyyy">
                  <c:v>38625</c:v>
                </c:pt>
                <c:pt idx="1370" formatCode="m/d/yyyy">
                  <c:v>38628</c:v>
                </c:pt>
                <c:pt idx="1371" formatCode="m/d/yyyy">
                  <c:v>38629</c:v>
                </c:pt>
                <c:pt idx="1372" formatCode="m/d/yyyy">
                  <c:v>38630</c:v>
                </c:pt>
                <c:pt idx="1373" formatCode="m/d/yyyy">
                  <c:v>38631</c:v>
                </c:pt>
                <c:pt idx="1374" formatCode="m/d/yyyy">
                  <c:v>38632</c:v>
                </c:pt>
                <c:pt idx="1375" formatCode="m/d/yyyy">
                  <c:v>38635</c:v>
                </c:pt>
                <c:pt idx="1376" formatCode="m/d/yyyy">
                  <c:v>38636</c:v>
                </c:pt>
                <c:pt idx="1377" formatCode="m/d/yyyy">
                  <c:v>38637</c:v>
                </c:pt>
                <c:pt idx="1378" formatCode="m/d/yyyy">
                  <c:v>38638</c:v>
                </c:pt>
                <c:pt idx="1379" formatCode="m/d/yyyy">
                  <c:v>38639</c:v>
                </c:pt>
                <c:pt idx="1380" formatCode="m/d/yyyy">
                  <c:v>38642</c:v>
                </c:pt>
                <c:pt idx="1381" formatCode="m/d/yyyy">
                  <c:v>38643</c:v>
                </c:pt>
                <c:pt idx="1382" formatCode="m/d/yyyy">
                  <c:v>38644</c:v>
                </c:pt>
                <c:pt idx="1383" formatCode="m/d/yyyy">
                  <c:v>38645</c:v>
                </c:pt>
                <c:pt idx="1384" formatCode="m/d/yyyy">
                  <c:v>38646</c:v>
                </c:pt>
                <c:pt idx="1385" formatCode="m/d/yyyy">
                  <c:v>38649</c:v>
                </c:pt>
                <c:pt idx="1386" formatCode="m/d/yyyy">
                  <c:v>38650</c:v>
                </c:pt>
                <c:pt idx="1387" formatCode="m/d/yyyy">
                  <c:v>38651</c:v>
                </c:pt>
                <c:pt idx="1388" formatCode="m/d/yyyy">
                  <c:v>38652</c:v>
                </c:pt>
                <c:pt idx="1389" formatCode="m/d/yyyy">
                  <c:v>38653</c:v>
                </c:pt>
                <c:pt idx="1390" formatCode="m/d/yyyy">
                  <c:v>38658</c:v>
                </c:pt>
                <c:pt idx="1391" formatCode="m/d/yyyy">
                  <c:v>38659</c:v>
                </c:pt>
                <c:pt idx="1392" formatCode="m/d/yyyy">
                  <c:v>38660</c:v>
                </c:pt>
                <c:pt idx="1393" formatCode="m/d/yyyy">
                  <c:v>38661</c:v>
                </c:pt>
                <c:pt idx="1394" formatCode="m/d/yyyy">
                  <c:v>38663</c:v>
                </c:pt>
                <c:pt idx="1395" formatCode="m/d/yyyy">
                  <c:v>38664</c:v>
                </c:pt>
                <c:pt idx="1396" formatCode="m/d/yyyy">
                  <c:v>38665</c:v>
                </c:pt>
                <c:pt idx="1397" formatCode="m/d/yyyy">
                  <c:v>38666</c:v>
                </c:pt>
                <c:pt idx="1398" formatCode="m/d/yyyy">
                  <c:v>38667</c:v>
                </c:pt>
                <c:pt idx="1399" formatCode="m/d/yyyy">
                  <c:v>38670</c:v>
                </c:pt>
                <c:pt idx="1400" formatCode="m/d/yyyy">
                  <c:v>38671</c:v>
                </c:pt>
                <c:pt idx="1401" formatCode="m/d/yyyy">
                  <c:v>38672</c:v>
                </c:pt>
                <c:pt idx="1402" formatCode="m/d/yyyy">
                  <c:v>38673</c:v>
                </c:pt>
                <c:pt idx="1403" formatCode="m/d/yyyy">
                  <c:v>38674</c:v>
                </c:pt>
                <c:pt idx="1404" formatCode="m/d/yyyy">
                  <c:v>38677</c:v>
                </c:pt>
                <c:pt idx="1405" formatCode="m/d/yyyy">
                  <c:v>38678</c:v>
                </c:pt>
                <c:pt idx="1406" formatCode="m/d/yyyy">
                  <c:v>38679</c:v>
                </c:pt>
                <c:pt idx="1407" formatCode="m/d/yyyy">
                  <c:v>38680</c:v>
                </c:pt>
                <c:pt idx="1408" formatCode="m/d/yyyy">
                  <c:v>38681</c:v>
                </c:pt>
                <c:pt idx="1409" formatCode="m/d/yyyy">
                  <c:v>38684</c:v>
                </c:pt>
                <c:pt idx="1410" formatCode="m/d/yyyy">
                  <c:v>38685</c:v>
                </c:pt>
                <c:pt idx="1411" formatCode="m/d/yyyy">
                  <c:v>38686</c:v>
                </c:pt>
                <c:pt idx="1412" formatCode="m/d/yyyy">
                  <c:v>38687</c:v>
                </c:pt>
                <c:pt idx="1413" formatCode="m/d/yyyy">
                  <c:v>38688</c:v>
                </c:pt>
                <c:pt idx="1414" formatCode="m/d/yyyy">
                  <c:v>38691</c:v>
                </c:pt>
                <c:pt idx="1415" formatCode="m/d/yyyy">
                  <c:v>38692</c:v>
                </c:pt>
                <c:pt idx="1416" formatCode="m/d/yyyy">
                  <c:v>38693</c:v>
                </c:pt>
                <c:pt idx="1417" formatCode="m/d/yyyy">
                  <c:v>38694</c:v>
                </c:pt>
                <c:pt idx="1418" formatCode="m/d/yyyy">
                  <c:v>38695</c:v>
                </c:pt>
                <c:pt idx="1419" formatCode="m/d/yyyy">
                  <c:v>38698</c:v>
                </c:pt>
                <c:pt idx="1420" formatCode="m/d/yyyy">
                  <c:v>38699</c:v>
                </c:pt>
                <c:pt idx="1421" formatCode="m/d/yyyy">
                  <c:v>38700</c:v>
                </c:pt>
                <c:pt idx="1422" formatCode="m/d/yyyy">
                  <c:v>38701</c:v>
                </c:pt>
                <c:pt idx="1423" formatCode="m/d/yyyy">
                  <c:v>38702</c:v>
                </c:pt>
                <c:pt idx="1424" formatCode="m/d/yyyy">
                  <c:v>38705</c:v>
                </c:pt>
                <c:pt idx="1425" formatCode="m/d/yyyy">
                  <c:v>38706</c:v>
                </c:pt>
                <c:pt idx="1426" formatCode="m/d/yyyy">
                  <c:v>38707</c:v>
                </c:pt>
                <c:pt idx="1427" formatCode="m/d/yyyy">
                  <c:v>38708</c:v>
                </c:pt>
                <c:pt idx="1428" formatCode="m/d/yyyy">
                  <c:v>38709</c:v>
                </c:pt>
                <c:pt idx="1429" formatCode="m/d/yyyy">
                  <c:v>38713</c:v>
                </c:pt>
                <c:pt idx="1430" formatCode="m/d/yyyy">
                  <c:v>38714</c:v>
                </c:pt>
                <c:pt idx="1431" formatCode="m/d/yyyy">
                  <c:v>38715</c:v>
                </c:pt>
                <c:pt idx="1432" formatCode="m/d/yyyy">
                  <c:v>38716</c:v>
                </c:pt>
                <c:pt idx="1433" formatCode="m/d/yyyy">
                  <c:v>38719</c:v>
                </c:pt>
                <c:pt idx="1434" formatCode="m/d/yyyy">
                  <c:v>38720</c:v>
                </c:pt>
                <c:pt idx="1435" formatCode="m/d/yyyy">
                  <c:v>38721</c:v>
                </c:pt>
                <c:pt idx="1436" formatCode="m/d/yyyy">
                  <c:v>38722</c:v>
                </c:pt>
                <c:pt idx="1437" formatCode="m/d/yyyy">
                  <c:v>38723</c:v>
                </c:pt>
                <c:pt idx="1438" formatCode="m/d/yyyy">
                  <c:v>38726</c:v>
                </c:pt>
                <c:pt idx="1439" formatCode="m/d/yyyy">
                  <c:v>38727</c:v>
                </c:pt>
                <c:pt idx="1440" formatCode="m/d/yyyy">
                  <c:v>38728</c:v>
                </c:pt>
                <c:pt idx="1441" formatCode="m/d/yyyy">
                  <c:v>38729</c:v>
                </c:pt>
                <c:pt idx="1442" formatCode="m/d/yyyy">
                  <c:v>38730</c:v>
                </c:pt>
                <c:pt idx="1443" formatCode="m/d/yyyy">
                  <c:v>38733</c:v>
                </c:pt>
                <c:pt idx="1444" formatCode="m/d/yyyy">
                  <c:v>38734</c:v>
                </c:pt>
                <c:pt idx="1445" formatCode="m/d/yyyy">
                  <c:v>38735</c:v>
                </c:pt>
                <c:pt idx="1446" formatCode="m/d/yyyy">
                  <c:v>38736</c:v>
                </c:pt>
                <c:pt idx="1447" formatCode="m/d/yyyy">
                  <c:v>38737</c:v>
                </c:pt>
                <c:pt idx="1448" formatCode="m/d/yyyy">
                  <c:v>38740</c:v>
                </c:pt>
                <c:pt idx="1449" formatCode="m/d/yyyy">
                  <c:v>38741</c:v>
                </c:pt>
                <c:pt idx="1450" formatCode="m/d/yyyy">
                  <c:v>38742</c:v>
                </c:pt>
                <c:pt idx="1451" formatCode="m/d/yyyy">
                  <c:v>38743</c:v>
                </c:pt>
                <c:pt idx="1452" formatCode="m/d/yyyy">
                  <c:v>38744</c:v>
                </c:pt>
                <c:pt idx="1453" formatCode="m/d/yyyy">
                  <c:v>38747</c:v>
                </c:pt>
                <c:pt idx="1454" formatCode="m/d/yyyy">
                  <c:v>38748</c:v>
                </c:pt>
                <c:pt idx="1455" formatCode="m/d/yyyy">
                  <c:v>38749</c:v>
                </c:pt>
                <c:pt idx="1456" formatCode="m/d/yyyy">
                  <c:v>38750</c:v>
                </c:pt>
                <c:pt idx="1457" formatCode="m/d/yyyy">
                  <c:v>38751</c:v>
                </c:pt>
                <c:pt idx="1458" formatCode="m/d/yyyy">
                  <c:v>38754</c:v>
                </c:pt>
                <c:pt idx="1459" formatCode="m/d/yyyy">
                  <c:v>38755</c:v>
                </c:pt>
                <c:pt idx="1460" formatCode="m/d/yyyy">
                  <c:v>38756</c:v>
                </c:pt>
                <c:pt idx="1461" formatCode="m/d/yyyy">
                  <c:v>38757</c:v>
                </c:pt>
                <c:pt idx="1462" formatCode="m/d/yyyy">
                  <c:v>38758</c:v>
                </c:pt>
                <c:pt idx="1463" formatCode="m/d/yyyy">
                  <c:v>38761</c:v>
                </c:pt>
                <c:pt idx="1464" formatCode="m/d/yyyy">
                  <c:v>38762</c:v>
                </c:pt>
                <c:pt idx="1465" formatCode="m/d/yyyy">
                  <c:v>38763</c:v>
                </c:pt>
                <c:pt idx="1466" formatCode="m/d/yyyy">
                  <c:v>38764</c:v>
                </c:pt>
                <c:pt idx="1467" formatCode="m/d/yyyy">
                  <c:v>38765</c:v>
                </c:pt>
                <c:pt idx="1468" formatCode="m/d/yyyy">
                  <c:v>38768</c:v>
                </c:pt>
                <c:pt idx="1469" formatCode="m/d/yyyy">
                  <c:v>38769</c:v>
                </c:pt>
                <c:pt idx="1470" formatCode="m/d/yyyy">
                  <c:v>38770</c:v>
                </c:pt>
                <c:pt idx="1471" formatCode="m/d/yyyy">
                  <c:v>38771</c:v>
                </c:pt>
                <c:pt idx="1472" formatCode="m/d/yyyy">
                  <c:v>38772</c:v>
                </c:pt>
                <c:pt idx="1473" formatCode="m/d/yyyy">
                  <c:v>38775</c:v>
                </c:pt>
                <c:pt idx="1474" formatCode="m/d/yyyy">
                  <c:v>38776</c:v>
                </c:pt>
                <c:pt idx="1475" formatCode="m/d/yyyy">
                  <c:v>38777</c:v>
                </c:pt>
                <c:pt idx="1476" formatCode="m/d/yyyy">
                  <c:v>38778</c:v>
                </c:pt>
                <c:pt idx="1477" formatCode="m/d/yyyy">
                  <c:v>38779</c:v>
                </c:pt>
                <c:pt idx="1478" formatCode="m/d/yyyy">
                  <c:v>38782</c:v>
                </c:pt>
                <c:pt idx="1479" formatCode="m/d/yyyy">
                  <c:v>38783</c:v>
                </c:pt>
                <c:pt idx="1480" formatCode="m/d/yyyy">
                  <c:v>38784</c:v>
                </c:pt>
                <c:pt idx="1481" formatCode="m/d/yyyy">
                  <c:v>38785</c:v>
                </c:pt>
                <c:pt idx="1482" formatCode="m/d/yyyy">
                  <c:v>38786</c:v>
                </c:pt>
                <c:pt idx="1483" formatCode="m/d/yyyy">
                  <c:v>38789</c:v>
                </c:pt>
                <c:pt idx="1484" formatCode="m/d/yyyy">
                  <c:v>38790</c:v>
                </c:pt>
                <c:pt idx="1485" formatCode="m/d/yyyy">
                  <c:v>38792</c:v>
                </c:pt>
                <c:pt idx="1486" formatCode="m/d/yyyy">
                  <c:v>38793</c:v>
                </c:pt>
                <c:pt idx="1487" formatCode="m/d/yyyy">
                  <c:v>38796</c:v>
                </c:pt>
                <c:pt idx="1488" formatCode="m/d/yyyy">
                  <c:v>38797</c:v>
                </c:pt>
                <c:pt idx="1489" formatCode="m/d/yyyy">
                  <c:v>38798</c:v>
                </c:pt>
                <c:pt idx="1490" formatCode="m/d/yyyy">
                  <c:v>38799</c:v>
                </c:pt>
                <c:pt idx="1491" formatCode="m/d/yyyy">
                  <c:v>38800</c:v>
                </c:pt>
                <c:pt idx="1492" formatCode="m/d/yyyy">
                  <c:v>38803</c:v>
                </c:pt>
                <c:pt idx="1493" formatCode="m/d/yyyy">
                  <c:v>38804</c:v>
                </c:pt>
                <c:pt idx="1494" formatCode="m/d/yyyy">
                  <c:v>38805</c:v>
                </c:pt>
                <c:pt idx="1495" formatCode="m/d/yyyy">
                  <c:v>38806</c:v>
                </c:pt>
                <c:pt idx="1496" formatCode="m/d/yyyy">
                  <c:v>38807</c:v>
                </c:pt>
                <c:pt idx="1497" formatCode="m/d/yyyy">
                  <c:v>38810</c:v>
                </c:pt>
                <c:pt idx="1498" formatCode="m/d/yyyy">
                  <c:v>38811</c:v>
                </c:pt>
                <c:pt idx="1499" formatCode="m/d/yyyy">
                  <c:v>38812</c:v>
                </c:pt>
                <c:pt idx="1500" formatCode="m/d/yyyy">
                  <c:v>38813</c:v>
                </c:pt>
                <c:pt idx="1501" formatCode="m/d/yyyy">
                  <c:v>38814</c:v>
                </c:pt>
                <c:pt idx="1502" formatCode="m/d/yyyy">
                  <c:v>38817</c:v>
                </c:pt>
                <c:pt idx="1503" formatCode="m/d/yyyy">
                  <c:v>38818</c:v>
                </c:pt>
                <c:pt idx="1504" formatCode="m/d/yyyy">
                  <c:v>38819</c:v>
                </c:pt>
                <c:pt idx="1505" formatCode="m/d/yyyy">
                  <c:v>38820</c:v>
                </c:pt>
                <c:pt idx="1506" formatCode="m/d/yyyy">
                  <c:v>38821</c:v>
                </c:pt>
                <c:pt idx="1507" formatCode="m/d/yyyy">
                  <c:v>38825</c:v>
                </c:pt>
                <c:pt idx="1508" formatCode="m/d/yyyy">
                  <c:v>38826</c:v>
                </c:pt>
                <c:pt idx="1509" formatCode="m/d/yyyy">
                  <c:v>38827</c:v>
                </c:pt>
                <c:pt idx="1510" formatCode="m/d/yyyy">
                  <c:v>38828</c:v>
                </c:pt>
                <c:pt idx="1511" formatCode="m/d/yyyy">
                  <c:v>38831</c:v>
                </c:pt>
                <c:pt idx="1512" formatCode="m/d/yyyy">
                  <c:v>38832</c:v>
                </c:pt>
                <c:pt idx="1513" formatCode="m/d/yyyy">
                  <c:v>38833</c:v>
                </c:pt>
                <c:pt idx="1514" formatCode="m/d/yyyy">
                  <c:v>38834</c:v>
                </c:pt>
                <c:pt idx="1515" formatCode="m/d/yyyy">
                  <c:v>38835</c:v>
                </c:pt>
                <c:pt idx="1516" formatCode="m/d/yyyy">
                  <c:v>38839</c:v>
                </c:pt>
                <c:pt idx="1517" formatCode="m/d/yyyy">
                  <c:v>38840</c:v>
                </c:pt>
                <c:pt idx="1518" formatCode="m/d/yyyy">
                  <c:v>38841</c:v>
                </c:pt>
                <c:pt idx="1519" formatCode="m/d/yyyy">
                  <c:v>38842</c:v>
                </c:pt>
                <c:pt idx="1520" formatCode="m/d/yyyy">
                  <c:v>38845</c:v>
                </c:pt>
                <c:pt idx="1521" formatCode="m/d/yyyy">
                  <c:v>38846</c:v>
                </c:pt>
                <c:pt idx="1522" formatCode="m/d/yyyy">
                  <c:v>38847</c:v>
                </c:pt>
                <c:pt idx="1523" formatCode="m/d/yyyy">
                  <c:v>38848</c:v>
                </c:pt>
                <c:pt idx="1524" formatCode="m/d/yyyy">
                  <c:v>38849</c:v>
                </c:pt>
                <c:pt idx="1525" formatCode="m/d/yyyy">
                  <c:v>38852</c:v>
                </c:pt>
                <c:pt idx="1526" formatCode="m/d/yyyy">
                  <c:v>38853</c:v>
                </c:pt>
                <c:pt idx="1527" formatCode="m/d/yyyy">
                  <c:v>38854</c:v>
                </c:pt>
                <c:pt idx="1528" formatCode="m/d/yyyy">
                  <c:v>38855</c:v>
                </c:pt>
                <c:pt idx="1529" formatCode="m/d/yyyy">
                  <c:v>38856</c:v>
                </c:pt>
                <c:pt idx="1530" formatCode="m/d/yyyy">
                  <c:v>38859</c:v>
                </c:pt>
                <c:pt idx="1531" formatCode="m/d/yyyy">
                  <c:v>38860</c:v>
                </c:pt>
                <c:pt idx="1532" formatCode="m/d/yyyy">
                  <c:v>38861</c:v>
                </c:pt>
                <c:pt idx="1533" formatCode="m/d/yyyy">
                  <c:v>38862</c:v>
                </c:pt>
                <c:pt idx="1534" formatCode="m/d/yyyy">
                  <c:v>38863</c:v>
                </c:pt>
                <c:pt idx="1535" formatCode="m/d/yyyy">
                  <c:v>38866</c:v>
                </c:pt>
                <c:pt idx="1536" formatCode="m/d/yyyy">
                  <c:v>38867</c:v>
                </c:pt>
                <c:pt idx="1537" formatCode="m/d/yyyy">
                  <c:v>38868</c:v>
                </c:pt>
                <c:pt idx="1538" formatCode="m/d/yyyy">
                  <c:v>38869</c:v>
                </c:pt>
                <c:pt idx="1539" formatCode="m/d/yyyy">
                  <c:v>38870</c:v>
                </c:pt>
                <c:pt idx="1540" formatCode="m/d/yyyy">
                  <c:v>38874</c:v>
                </c:pt>
                <c:pt idx="1541" formatCode="m/d/yyyy">
                  <c:v>38875</c:v>
                </c:pt>
                <c:pt idx="1542" formatCode="m/d/yyyy">
                  <c:v>38876</c:v>
                </c:pt>
                <c:pt idx="1543" formatCode="m/d/yyyy">
                  <c:v>38877</c:v>
                </c:pt>
                <c:pt idx="1544" formatCode="m/d/yyyy">
                  <c:v>38880</c:v>
                </c:pt>
                <c:pt idx="1545" formatCode="m/d/yyyy">
                  <c:v>38881</c:v>
                </c:pt>
                <c:pt idx="1546" formatCode="m/d/yyyy">
                  <c:v>38882</c:v>
                </c:pt>
                <c:pt idx="1547" formatCode="m/d/yyyy">
                  <c:v>38883</c:v>
                </c:pt>
                <c:pt idx="1548" formatCode="m/d/yyyy">
                  <c:v>38884</c:v>
                </c:pt>
                <c:pt idx="1549" formatCode="m/d/yyyy">
                  <c:v>38887</c:v>
                </c:pt>
                <c:pt idx="1550" formatCode="m/d/yyyy">
                  <c:v>38888</c:v>
                </c:pt>
                <c:pt idx="1551" formatCode="m/d/yyyy">
                  <c:v>38889</c:v>
                </c:pt>
                <c:pt idx="1552" formatCode="m/d/yyyy">
                  <c:v>38890</c:v>
                </c:pt>
                <c:pt idx="1553" formatCode="m/d/yyyy">
                  <c:v>38891</c:v>
                </c:pt>
                <c:pt idx="1554" formatCode="m/d/yyyy">
                  <c:v>38894</c:v>
                </c:pt>
                <c:pt idx="1555" formatCode="m/d/yyyy">
                  <c:v>38895</c:v>
                </c:pt>
                <c:pt idx="1556" formatCode="m/d/yyyy">
                  <c:v>38896</c:v>
                </c:pt>
                <c:pt idx="1557" formatCode="m/d/yyyy">
                  <c:v>38897</c:v>
                </c:pt>
                <c:pt idx="1558" formatCode="m/d/yyyy">
                  <c:v>38898</c:v>
                </c:pt>
                <c:pt idx="1559" formatCode="m/d/yyyy">
                  <c:v>38901</c:v>
                </c:pt>
                <c:pt idx="1560" formatCode="m/d/yyyy">
                  <c:v>38902</c:v>
                </c:pt>
                <c:pt idx="1561" formatCode="m/d/yyyy">
                  <c:v>38903</c:v>
                </c:pt>
                <c:pt idx="1562" formatCode="m/d/yyyy">
                  <c:v>38904</c:v>
                </c:pt>
                <c:pt idx="1563" formatCode="m/d/yyyy">
                  <c:v>38905</c:v>
                </c:pt>
                <c:pt idx="1564" formatCode="m/d/yyyy">
                  <c:v>38908</c:v>
                </c:pt>
                <c:pt idx="1565" formatCode="m/d/yyyy">
                  <c:v>38909</c:v>
                </c:pt>
                <c:pt idx="1566" formatCode="m/d/yyyy">
                  <c:v>38910</c:v>
                </c:pt>
                <c:pt idx="1567" formatCode="m/d/yyyy">
                  <c:v>38911</c:v>
                </c:pt>
                <c:pt idx="1568" formatCode="m/d/yyyy">
                  <c:v>38912</c:v>
                </c:pt>
                <c:pt idx="1569" formatCode="m/d/yyyy">
                  <c:v>38915</c:v>
                </c:pt>
                <c:pt idx="1570" formatCode="m/d/yyyy">
                  <c:v>38916</c:v>
                </c:pt>
                <c:pt idx="1571" formatCode="m/d/yyyy">
                  <c:v>38917</c:v>
                </c:pt>
                <c:pt idx="1572" formatCode="m/d/yyyy">
                  <c:v>38918</c:v>
                </c:pt>
                <c:pt idx="1573" formatCode="m/d/yyyy">
                  <c:v>38919</c:v>
                </c:pt>
                <c:pt idx="1574" formatCode="m/d/yyyy">
                  <c:v>38922</c:v>
                </c:pt>
                <c:pt idx="1575" formatCode="m/d/yyyy">
                  <c:v>38923</c:v>
                </c:pt>
                <c:pt idx="1576" formatCode="m/d/yyyy">
                  <c:v>38924</c:v>
                </c:pt>
                <c:pt idx="1577" formatCode="m/d/yyyy">
                  <c:v>38925</c:v>
                </c:pt>
                <c:pt idx="1578" formatCode="m/d/yyyy">
                  <c:v>38926</c:v>
                </c:pt>
                <c:pt idx="1579" formatCode="m/d/yyyy">
                  <c:v>38929</c:v>
                </c:pt>
                <c:pt idx="1580" formatCode="m/d/yyyy">
                  <c:v>38930</c:v>
                </c:pt>
                <c:pt idx="1581" formatCode="m/d/yyyy">
                  <c:v>38931</c:v>
                </c:pt>
                <c:pt idx="1582" formatCode="m/d/yyyy">
                  <c:v>38932</c:v>
                </c:pt>
                <c:pt idx="1583" formatCode="m/d/yyyy">
                  <c:v>38933</c:v>
                </c:pt>
                <c:pt idx="1584" formatCode="m/d/yyyy">
                  <c:v>38936</c:v>
                </c:pt>
                <c:pt idx="1585" formatCode="m/d/yyyy">
                  <c:v>38937</c:v>
                </c:pt>
                <c:pt idx="1586" formatCode="m/d/yyyy">
                  <c:v>38938</c:v>
                </c:pt>
                <c:pt idx="1587" formatCode="m/d/yyyy">
                  <c:v>38939</c:v>
                </c:pt>
                <c:pt idx="1588" formatCode="m/d/yyyy">
                  <c:v>38940</c:v>
                </c:pt>
                <c:pt idx="1589" formatCode="m/d/yyyy">
                  <c:v>38943</c:v>
                </c:pt>
                <c:pt idx="1590" formatCode="m/d/yyyy">
                  <c:v>38944</c:v>
                </c:pt>
                <c:pt idx="1591" formatCode="m/d/yyyy">
                  <c:v>38945</c:v>
                </c:pt>
                <c:pt idx="1592" formatCode="m/d/yyyy">
                  <c:v>38946</c:v>
                </c:pt>
                <c:pt idx="1593" formatCode="m/d/yyyy">
                  <c:v>38947</c:v>
                </c:pt>
                <c:pt idx="1594" formatCode="m/d/yyyy">
                  <c:v>38950</c:v>
                </c:pt>
                <c:pt idx="1595" formatCode="m/d/yyyy">
                  <c:v>38951</c:v>
                </c:pt>
                <c:pt idx="1596" formatCode="m/d/yyyy">
                  <c:v>38952</c:v>
                </c:pt>
                <c:pt idx="1597" formatCode="m/d/yyyy">
                  <c:v>38953</c:v>
                </c:pt>
                <c:pt idx="1598" formatCode="m/d/yyyy">
                  <c:v>38954</c:v>
                </c:pt>
                <c:pt idx="1599" formatCode="m/d/yyyy">
                  <c:v>38957</c:v>
                </c:pt>
                <c:pt idx="1600" formatCode="m/d/yyyy">
                  <c:v>38958</c:v>
                </c:pt>
                <c:pt idx="1601" formatCode="m/d/yyyy">
                  <c:v>38959</c:v>
                </c:pt>
                <c:pt idx="1602" formatCode="m/d/yyyy">
                  <c:v>38960</c:v>
                </c:pt>
                <c:pt idx="1603" formatCode="m/d/yyyy">
                  <c:v>38961</c:v>
                </c:pt>
                <c:pt idx="1604" formatCode="m/d/yyyy">
                  <c:v>38964</c:v>
                </c:pt>
                <c:pt idx="1605" formatCode="m/d/yyyy">
                  <c:v>38965</c:v>
                </c:pt>
                <c:pt idx="1606" formatCode="m/d/yyyy">
                  <c:v>38966</c:v>
                </c:pt>
                <c:pt idx="1607" formatCode="m/d/yyyy">
                  <c:v>38967</c:v>
                </c:pt>
                <c:pt idx="1608" formatCode="m/d/yyyy">
                  <c:v>38968</c:v>
                </c:pt>
                <c:pt idx="1609" formatCode="m/d/yyyy">
                  <c:v>38971</c:v>
                </c:pt>
                <c:pt idx="1610" formatCode="m/d/yyyy">
                  <c:v>38972</c:v>
                </c:pt>
                <c:pt idx="1611" formatCode="m/d/yyyy">
                  <c:v>38973</c:v>
                </c:pt>
                <c:pt idx="1612" formatCode="m/d/yyyy">
                  <c:v>38974</c:v>
                </c:pt>
                <c:pt idx="1613" formatCode="m/d/yyyy">
                  <c:v>38975</c:v>
                </c:pt>
                <c:pt idx="1614" formatCode="m/d/yyyy">
                  <c:v>38978</c:v>
                </c:pt>
                <c:pt idx="1615" formatCode="m/d/yyyy">
                  <c:v>38979</c:v>
                </c:pt>
                <c:pt idx="1616" formatCode="m/d/yyyy">
                  <c:v>38980</c:v>
                </c:pt>
                <c:pt idx="1617" formatCode="m/d/yyyy">
                  <c:v>38981</c:v>
                </c:pt>
                <c:pt idx="1618" formatCode="m/d/yyyy">
                  <c:v>38982</c:v>
                </c:pt>
                <c:pt idx="1619" formatCode="m/d/yyyy">
                  <c:v>38985</c:v>
                </c:pt>
                <c:pt idx="1620" formatCode="m/d/yyyy">
                  <c:v>38986</c:v>
                </c:pt>
                <c:pt idx="1621" formatCode="m/d/yyyy">
                  <c:v>38987</c:v>
                </c:pt>
                <c:pt idx="1622" formatCode="m/d/yyyy">
                  <c:v>38988</c:v>
                </c:pt>
                <c:pt idx="1623" formatCode="m/d/yyyy">
                  <c:v>38989</c:v>
                </c:pt>
                <c:pt idx="1624" formatCode="m/d/yyyy">
                  <c:v>38992</c:v>
                </c:pt>
                <c:pt idx="1625" formatCode="m/d/yyyy">
                  <c:v>38993</c:v>
                </c:pt>
                <c:pt idx="1626" formatCode="m/d/yyyy">
                  <c:v>38994</c:v>
                </c:pt>
                <c:pt idx="1627" formatCode="m/d/yyyy">
                  <c:v>38995</c:v>
                </c:pt>
                <c:pt idx="1628" formatCode="m/d/yyyy">
                  <c:v>38996</c:v>
                </c:pt>
                <c:pt idx="1629" formatCode="m/d/yyyy">
                  <c:v>38999</c:v>
                </c:pt>
                <c:pt idx="1630" formatCode="m/d/yyyy">
                  <c:v>39000</c:v>
                </c:pt>
                <c:pt idx="1631" formatCode="m/d/yyyy">
                  <c:v>39001</c:v>
                </c:pt>
                <c:pt idx="1632" formatCode="m/d/yyyy">
                  <c:v>39002</c:v>
                </c:pt>
                <c:pt idx="1633" formatCode="m/d/yyyy">
                  <c:v>39003</c:v>
                </c:pt>
                <c:pt idx="1634" formatCode="m/d/yyyy">
                  <c:v>39006</c:v>
                </c:pt>
                <c:pt idx="1635" formatCode="m/d/yyyy">
                  <c:v>39007</c:v>
                </c:pt>
                <c:pt idx="1636" formatCode="m/d/yyyy">
                  <c:v>39008</c:v>
                </c:pt>
                <c:pt idx="1637" formatCode="m/d/yyyy">
                  <c:v>39009</c:v>
                </c:pt>
                <c:pt idx="1638" formatCode="m/d/yyyy">
                  <c:v>39010</c:v>
                </c:pt>
                <c:pt idx="1639" formatCode="m/d/yyyy">
                  <c:v>39014</c:v>
                </c:pt>
                <c:pt idx="1640" formatCode="m/d/yyyy">
                  <c:v>39015</c:v>
                </c:pt>
                <c:pt idx="1641" formatCode="m/d/yyyy">
                  <c:v>39016</c:v>
                </c:pt>
                <c:pt idx="1642" formatCode="m/d/yyyy">
                  <c:v>39017</c:v>
                </c:pt>
                <c:pt idx="1643" formatCode="m/d/yyyy">
                  <c:v>39020</c:v>
                </c:pt>
                <c:pt idx="1644" formatCode="m/d/yyyy">
                  <c:v>39021</c:v>
                </c:pt>
                <c:pt idx="1645" formatCode="m/d/yyyy">
                  <c:v>39023</c:v>
                </c:pt>
                <c:pt idx="1646" formatCode="m/d/yyyy">
                  <c:v>39024</c:v>
                </c:pt>
                <c:pt idx="1647" formatCode="m/d/yyyy">
                  <c:v>39027</c:v>
                </c:pt>
                <c:pt idx="1648" formatCode="m/d/yyyy">
                  <c:v>39028</c:v>
                </c:pt>
                <c:pt idx="1649" formatCode="m/d/yyyy">
                  <c:v>39029</c:v>
                </c:pt>
                <c:pt idx="1650" formatCode="m/d/yyyy">
                  <c:v>39030</c:v>
                </c:pt>
                <c:pt idx="1651" formatCode="m/d/yyyy">
                  <c:v>39031</c:v>
                </c:pt>
                <c:pt idx="1652" formatCode="m/d/yyyy">
                  <c:v>39034</c:v>
                </c:pt>
                <c:pt idx="1653" formatCode="m/d/yyyy">
                  <c:v>39035</c:v>
                </c:pt>
                <c:pt idx="1654" formatCode="m/d/yyyy">
                  <c:v>39036</c:v>
                </c:pt>
                <c:pt idx="1655" formatCode="m/d/yyyy">
                  <c:v>39037</c:v>
                </c:pt>
                <c:pt idx="1656" formatCode="m/d/yyyy">
                  <c:v>39038</c:v>
                </c:pt>
                <c:pt idx="1657" formatCode="m/d/yyyy">
                  <c:v>39041</c:v>
                </c:pt>
                <c:pt idx="1658" formatCode="m/d/yyyy">
                  <c:v>39042</c:v>
                </c:pt>
                <c:pt idx="1659" formatCode="m/d/yyyy">
                  <c:v>39043</c:v>
                </c:pt>
                <c:pt idx="1660" formatCode="m/d/yyyy">
                  <c:v>39044</c:v>
                </c:pt>
                <c:pt idx="1661" formatCode="m/d/yyyy">
                  <c:v>39045</c:v>
                </c:pt>
                <c:pt idx="1662" formatCode="m/d/yyyy">
                  <c:v>39048</c:v>
                </c:pt>
                <c:pt idx="1663" formatCode="m/d/yyyy">
                  <c:v>39049</c:v>
                </c:pt>
                <c:pt idx="1664" formatCode="m/d/yyyy">
                  <c:v>39050</c:v>
                </c:pt>
                <c:pt idx="1665" formatCode="m/d/yyyy">
                  <c:v>39051</c:v>
                </c:pt>
                <c:pt idx="1666" formatCode="m/d/yyyy">
                  <c:v>39052</c:v>
                </c:pt>
                <c:pt idx="1667" formatCode="m/d/yyyy">
                  <c:v>39055</c:v>
                </c:pt>
                <c:pt idx="1668" formatCode="m/d/yyyy">
                  <c:v>39056</c:v>
                </c:pt>
                <c:pt idx="1669" formatCode="m/d/yyyy">
                  <c:v>39057</c:v>
                </c:pt>
                <c:pt idx="1670" formatCode="m/d/yyyy">
                  <c:v>39058</c:v>
                </c:pt>
                <c:pt idx="1671" formatCode="m/d/yyyy">
                  <c:v>39059</c:v>
                </c:pt>
                <c:pt idx="1672" formatCode="m/d/yyyy">
                  <c:v>39062</c:v>
                </c:pt>
                <c:pt idx="1673" formatCode="m/d/yyyy">
                  <c:v>39063</c:v>
                </c:pt>
                <c:pt idx="1674" formatCode="m/d/yyyy">
                  <c:v>39064</c:v>
                </c:pt>
                <c:pt idx="1675" formatCode="m/d/yyyy">
                  <c:v>39065</c:v>
                </c:pt>
                <c:pt idx="1676" formatCode="m/d/yyyy">
                  <c:v>39066</c:v>
                </c:pt>
                <c:pt idx="1677" formatCode="m/d/yyyy">
                  <c:v>39069</c:v>
                </c:pt>
                <c:pt idx="1678" formatCode="m/d/yyyy">
                  <c:v>39070</c:v>
                </c:pt>
                <c:pt idx="1679" formatCode="m/d/yyyy">
                  <c:v>39071</c:v>
                </c:pt>
                <c:pt idx="1680" formatCode="m/d/yyyy">
                  <c:v>39072</c:v>
                </c:pt>
                <c:pt idx="1681" formatCode="m/d/yyyy">
                  <c:v>39073</c:v>
                </c:pt>
                <c:pt idx="1682" formatCode="m/d/yyyy">
                  <c:v>39078</c:v>
                </c:pt>
                <c:pt idx="1683" formatCode="m/d/yyyy">
                  <c:v>39079</c:v>
                </c:pt>
                <c:pt idx="1684" formatCode="m/d/yyyy">
                  <c:v>39080</c:v>
                </c:pt>
                <c:pt idx="1685" formatCode="m/d/yyyy">
                  <c:v>39084</c:v>
                </c:pt>
                <c:pt idx="1686" formatCode="m/d/yyyy">
                  <c:v>39085</c:v>
                </c:pt>
                <c:pt idx="1687" formatCode="m/d/yyyy">
                  <c:v>39086</c:v>
                </c:pt>
                <c:pt idx="1688" formatCode="m/d/yyyy">
                  <c:v>39087</c:v>
                </c:pt>
                <c:pt idx="1689" formatCode="m/d/yyyy">
                  <c:v>39090</c:v>
                </c:pt>
                <c:pt idx="1690" formatCode="m/d/yyyy">
                  <c:v>39091</c:v>
                </c:pt>
                <c:pt idx="1691" formatCode="m/d/yyyy">
                  <c:v>39092</c:v>
                </c:pt>
                <c:pt idx="1692" formatCode="m/d/yyyy">
                  <c:v>39093</c:v>
                </c:pt>
                <c:pt idx="1693" formatCode="m/d/yyyy">
                  <c:v>39094</c:v>
                </c:pt>
                <c:pt idx="1694" formatCode="m/d/yyyy">
                  <c:v>39097</c:v>
                </c:pt>
                <c:pt idx="1695" formatCode="m/d/yyyy">
                  <c:v>39098</c:v>
                </c:pt>
                <c:pt idx="1696" formatCode="m/d/yyyy">
                  <c:v>39099</c:v>
                </c:pt>
                <c:pt idx="1697" formatCode="m/d/yyyy">
                  <c:v>39100</c:v>
                </c:pt>
                <c:pt idx="1698" formatCode="m/d/yyyy">
                  <c:v>39101</c:v>
                </c:pt>
                <c:pt idx="1699" formatCode="m/d/yyyy">
                  <c:v>39104</c:v>
                </c:pt>
                <c:pt idx="1700" formatCode="m/d/yyyy">
                  <c:v>39105</c:v>
                </c:pt>
                <c:pt idx="1701" formatCode="m/d/yyyy">
                  <c:v>39106</c:v>
                </c:pt>
                <c:pt idx="1702" formatCode="m/d/yyyy">
                  <c:v>39107</c:v>
                </c:pt>
                <c:pt idx="1703" formatCode="m/d/yyyy">
                  <c:v>39108</c:v>
                </c:pt>
                <c:pt idx="1704" formatCode="m/d/yyyy">
                  <c:v>39111</c:v>
                </c:pt>
                <c:pt idx="1705" formatCode="m/d/yyyy">
                  <c:v>39112</c:v>
                </c:pt>
                <c:pt idx="1706" formatCode="m/d/yyyy">
                  <c:v>39113</c:v>
                </c:pt>
                <c:pt idx="1707" formatCode="m/d/yyyy">
                  <c:v>39114</c:v>
                </c:pt>
                <c:pt idx="1708" formatCode="m/d/yyyy">
                  <c:v>39115</c:v>
                </c:pt>
                <c:pt idx="1709" formatCode="m/d/yyyy">
                  <c:v>39118</c:v>
                </c:pt>
                <c:pt idx="1710" formatCode="m/d/yyyy">
                  <c:v>39119</c:v>
                </c:pt>
                <c:pt idx="1711" formatCode="m/d/yyyy">
                  <c:v>39120</c:v>
                </c:pt>
                <c:pt idx="1712" formatCode="m/d/yyyy">
                  <c:v>39121</c:v>
                </c:pt>
                <c:pt idx="1713" formatCode="m/d/yyyy">
                  <c:v>39122</c:v>
                </c:pt>
                <c:pt idx="1714" formatCode="m/d/yyyy">
                  <c:v>39125</c:v>
                </c:pt>
                <c:pt idx="1715" formatCode="m/d/yyyy">
                  <c:v>39126</c:v>
                </c:pt>
                <c:pt idx="1716" formatCode="m/d/yyyy">
                  <c:v>39127</c:v>
                </c:pt>
                <c:pt idx="1717" formatCode="m/d/yyyy">
                  <c:v>39128</c:v>
                </c:pt>
                <c:pt idx="1718" formatCode="m/d/yyyy">
                  <c:v>39129</c:v>
                </c:pt>
                <c:pt idx="1719" formatCode="m/d/yyyy">
                  <c:v>39132</c:v>
                </c:pt>
                <c:pt idx="1720" formatCode="m/d/yyyy">
                  <c:v>39133</c:v>
                </c:pt>
                <c:pt idx="1721" formatCode="m/d/yyyy">
                  <c:v>39134</c:v>
                </c:pt>
                <c:pt idx="1722" formatCode="m/d/yyyy">
                  <c:v>39135</c:v>
                </c:pt>
                <c:pt idx="1723" formatCode="m/d/yyyy">
                  <c:v>39136</c:v>
                </c:pt>
                <c:pt idx="1724" formatCode="m/d/yyyy">
                  <c:v>39139</c:v>
                </c:pt>
                <c:pt idx="1725" formatCode="m/d/yyyy">
                  <c:v>39140</c:v>
                </c:pt>
                <c:pt idx="1726" formatCode="m/d/yyyy">
                  <c:v>39141</c:v>
                </c:pt>
                <c:pt idx="1727" formatCode="m/d/yyyy">
                  <c:v>39142</c:v>
                </c:pt>
                <c:pt idx="1728" formatCode="m/d/yyyy">
                  <c:v>39143</c:v>
                </c:pt>
                <c:pt idx="1729" formatCode="m/d/yyyy">
                  <c:v>39146</c:v>
                </c:pt>
                <c:pt idx="1730" formatCode="m/d/yyyy">
                  <c:v>39147</c:v>
                </c:pt>
                <c:pt idx="1731" formatCode="m/d/yyyy">
                  <c:v>39148</c:v>
                </c:pt>
                <c:pt idx="1732" formatCode="m/d/yyyy">
                  <c:v>39149</c:v>
                </c:pt>
                <c:pt idx="1733" formatCode="m/d/yyyy">
                  <c:v>39150</c:v>
                </c:pt>
                <c:pt idx="1734" formatCode="m/d/yyyy">
                  <c:v>39151</c:v>
                </c:pt>
                <c:pt idx="1735" formatCode="m/d/yyyy">
                  <c:v>39153</c:v>
                </c:pt>
                <c:pt idx="1736" formatCode="m/d/yyyy">
                  <c:v>39154</c:v>
                </c:pt>
                <c:pt idx="1737" formatCode="m/d/yyyy">
                  <c:v>39155</c:v>
                </c:pt>
                <c:pt idx="1738" formatCode="m/d/yyyy">
                  <c:v>39160</c:v>
                </c:pt>
                <c:pt idx="1739" formatCode="m/d/yyyy">
                  <c:v>39161</c:v>
                </c:pt>
                <c:pt idx="1740" formatCode="m/d/yyyy">
                  <c:v>39162</c:v>
                </c:pt>
                <c:pt idx="1741" formatCode="m/d/yyyy">
                  <c:v>39163</c:v>
                </c:pt>
                <c:pt idx="1742" formatCode="m/d/yyyy">
                  <c:v>39164</c:v>
                </c:pt>
                <c:pt idx="1743" formatCode="m/d/yyyy">
                  <c:v>39167</c:v>
                </c:pt>
                <c:pt idx="1744" formatCode="m/d/yyyy">
                  <c:v>39168</c:v>
                </c:pt>
                <c:pt idx="1745" formatCode="m/d/yyyy">
                  <c:v>39169</c:v>
                </c:pt>
                <c:pt idx="1746" formatCode="m/d/yyyy">
                  <c:v>39170</c:v>
                </c:pt>
                <c:pt idx="1747" formatCode="m/d/yyyy">
                  <c:v>39171</c:v>
                </c:pt>
                <c:pt idx="1748" formatCode="m/d/yyyy">
                  <c:v>39174</c:v>
                </c:pt>
                <c:pt idx="1749" formatCode="m/d/yyyy">
                  <c:v>39175</c:v>
                </c:pt>
                <c:pt idx="1750" formatCode="m/d/yyyy">
                  <c:v>39176</c:v>
                </c:pt>
                <c:pt idx="1751" formatCode="m/d/yyyy">
                  <c:v>39177</c:v>
                </c:pt>
                <c:pt idx="1752" formatCode="m/d/yyyy">
                  <c:v>39178</c:v>
                </c:pt>
                <c:pt idx="1753" formatCode="m/d/yyyy">
                  <c:v>39182</c:v>
                </c:pt>
                <c:pt idx="1754" formatCode="m/d/yyyy">
                  <c:v>39183</c:v>
                </c:pt>
                <c:pt idx="1755" formatCode="m/d/yyyy">
                  <c:v>39184</c:v>
                </c:pt>
                <c:pt idx="1756" formatCode="m/d/yyyy">
                  <c:v>39185</c:v>
                </c:pt>
                <c:pt idx="1757" formatCode="m/d/yyyy">
                  <c:v>39188</c:v>
                </c:pt>
                <c:pt idx="1758" formatCode="m/d/yyyy">
                  <c:v>39189</c:v>
                </c:pt>
                <c:pt idx="1759" formatCode="m/d/yyyy">
                  <c:v>39190</c:v>
                </c:pt>
                <c:pt idx="1760" formatCode="m/d/yyyy">
                  <c:v>39191</c:v>
                </c:pt>
                <c:pt idx="1761" formatCode="m/d/yyyy">
                  <c:v>39192</c:v>
                </c:pt>
                <c:pt idx="1762" formatCode="m/d/yyyy">
                  <c:v>39193</c:v>
                </c:pt>
                <c:pt idx="1763" formatCode="m/d/yyyy">
                  <c:v>39195</c:v>
                </c:pt>
                <c:pt idx="1764" formatCode="m/d/yyyy">
                  <c:v>39196</c:v>
                </c:pt>
                <c:pt idx="1765" formatCode="m/d/yyyy">
                  <c:v>39197</c:v>
                </c:pt>
                <c:pt idx="1766" formatCode="m/d/yyyy">
                  <c:v>39198</c:v>
                </c:pt>
                <c:pt idx="1767" formatCode="m/d/yyyy">
                  <c:v>39199</c:v>
                </c:pt>
                <c:pt idx="1768" formatCode="m/d/yyyy">
                  <c:v>39204</c:v>
                </c:pt>
                <c:pt idx="1769" formatCode="m/d/yyyy">
                  <c:v>39205</c:v>
                </c:pt>
                <c:pt idx="1770" formatCode="m/d/yyyy">
                  <c:v>39206</c:v>
                </c:pt>
                <c:pt idx="1771" formatCode="m/d/yyyy">
                  <c:v>39209</c:v>
                </c:pt>
                <c:pt idx="1772" formatCode="m/d/yyyy">
                  <c:v>39210</c:v>
                </c:pt>
                <c:pt idx="1773" formatCode="m/d/yyyy">
                  <c:v>39211</c:v>
                </c:pt>
                <c:pt idx="1774" formatCode="m/d/yyyy">
                  <c:v>39212</c:v>
                </c:pt>
                <c:pt idx="1775" formatCode="m/d/yyyy">
                  <c:v>39213</c:v>
                </c:pt>
                <c:pt idx="1776" formatCode="m/d/yyyy">
                  <c:v>39216</c:v>
                </c:pt>
                <c:pt idx="1777" formatCode="m/d/yyyy">
                  <c:v>39217</c:v>
                </c:pt>
                <c:pt idx="1778" formatCode="m/d/yyyy">
                  <c:v>39218</c:v>
                </c:pt>
                <c:pt idx="1779" formatCode="m/d/yyyy">
                  <c:v>39219</c:v>
                </c:pt>
                <c:pt idx="1780" formatCode="m/d/yyyy">
                  <c:v>39220</c:v>
                </c:pt>
                <c:pt idx="1781" formatCode="m/d/yyyy">
                  <c:v>39223</c:v>
                </c:pt>
                <c:pt idx="1782" formatCode="m/d/yyyy">
                  <c:v>39224</c:v>
                </c:pt>
                <c:pt idx="1783" formatCode="m/d/yyyy">
                  <c:v>39225</c:v>
                </c:pt>
                <c:pt idx="1784" formatCode="m/d/yyyy">
                  <c:v>39226</c:v>
                </c:pt>
                <c:pt idx="1785" formatCode="m/d/yyyy">
                  <c:v>39227</c:v>
                </c:pt>
                <c:pt idx="1786" formatCode="m/d/yyyy">
                  <c:v>39231</c:v>
                </c:pt>
                <c:pt idx="1787" formatCode="m/d/yyyy">
                  <c:v>39232</c:v>
                </c:pt>
                <c:pt idx="1788" formatCode="m/d/yyyy">
                  <c:v>39233</c:v>
                </c:pt>
                <c:pt idx="1789" formatCode="m/d/yyyy">
                  <c:v>39234</c:v>
                </c:pt>
                <c:pt idx="1790" formatCode="m/d/yyyy">
                  <c:v>39237</c:v>
                </c:pt>
                <c:pt idx="1791" formatCode="m/d/yyyy">
                  <c:v>39238</c:v>
                </c:pt>
                <c:pt idx="1792" formatCode="m/d/yyyy">
                  <c:v>39239</c:v>
                </c:pt>
                <c:pt idx="1793" formatCode="m/d/yyyy">
                  <c:v>39240</c:v>
                </c:pt>
                <c:pt idx="1794" formatCode="m/d/yyyy">
                  <c:v>39241</c:v>
                </c:pt>
                <c:pt idx="1795" formatCode="m/d/yyyy">
                  <c:v>39244</c:v>
                </c:pt>
                <c:pt idx="1796" formatCode="m/d/yyyy">
                  <c:v>39245</c:v>
                </c:pt>
                <c:pt idx="1797" formatCode="m/d/yyyy">
                  <c:v>39246</c:v>
                </c:pt>
                <c:pt idx="1798" formatCode="m/d/yyyy">
                  <c:v>39247</c:v>
                </c:pt>
                <c:pt idx="1799" formatCode="m/d/yyyy">
                  <c:v>39248</c:v>
                </c:pt>
                <c:pt idx="1800" formatCode="m/d/yyyy">
                  <c:v>39251</c:v>
                </c:pt>
                <c:pt idx="1801" formatCode="m/d/yyyy">
                  <c:v>39252</c:v>
                </c:pt>
                <c:pt idx="1802" formatCode="m/d/yyyy">
                  <c:v>39253</c:v>
                </c:pt>
                <c:pt idx="1803" formatCode="m/d/yyyy">
                  <c:v>39254</c:v>
                </c:pt>
                <c:pt idx="1804" formatCode="m/d/yyyy">
                  <c:v>39255</c:v>
                </c:pt>
                <c:pt idx="1805" formatCode="m/d/yyyy">
                  <c:v>39258</c:v>
                </c:pt>
                <c:pt idx="1806" formatCode="m/d/yyyy">
                  <c:v>39259</c:v>
                </c:pt>
                <c:pt idx="1807" formatCode="m/d/yyyy">
                  <c:v>39260</c:v>
                </c:pt>
                <c:pt idx="1808" formatCode="m/d/yyyy">
                  <c:v>39261</c:v>
                </c:pt>
                <c:pt idx="1809" formatCode="m/d/yyyy">
                  <c:v>39262</c:v>
                </c:pt>
                <c:pt idx="1810" formatCode="m/d/yyyy">
                  <c:v>39265</c:v>
                </c:pt>
                <c:pt idx="1811" formatCode="m/d/yyyy">
                  <c:v>39266</c:v>
                </c:pt>
                <c:pt idx="1812" formatCode="m/d/yyyy">
                  <c:v>39267</c:v>
                </c:pt>
                <c:pt idx="1813" formatCode="m/d/yyyy">
                  <c:v>39268</c:v>
                </c:pt>
                <c:pt idx="1814" formatCode="m/d/yyyy">
                  <c:v>39269</c:v>
                </c:pt>
                <c:pt idx="1815" formatCode="m/d/yyyy">
                  <c:v>39272</c:v>
                </c:pt>
                <c:pt idx="1816" formatCode="m/d/yyyy">
                  <c:v>39273</c:v>
                </c:pt>
                <c:pt idx="1817" formatCode="m/d/yyyy">
                  <c:v>39274</c:v>
                </c:pt>
                <c:pt idx="1818" formatCode="m/d/yyyy">
                  <c:v>39275</c:v>
                </c:pt>
                <c:pt idx="1819" formatCode="m/d/yyyy">
                  <c:v>39276</c:v>
                </c:pt>
                <c:pt idx="1820" formatCode="m/d/yyyy">
                  <c:v>39279</c:v>
                </c:pt>
                <c:pt idx="1821" formatCode="m/d/yyyy">
                  <c:v>39280</c:v>
                </c:pt>
                <c:pt idx="1822" formatCode="m/d/yyyy">
                  <c:v>39281</c:v>
                </c:pt>
                <c:pt idx="1823" formatCode="m/d/yyyy">
                  <c:v>39282</c:v>
                </c:pt>
                <c:pt idx="1824" formatCode="m/d/yyyy">
                  <c:v>39283</c:v>
                </c:pt>
                <c:pt idx="1825" formatCode="m/d/yyyy">
                  <c:v>39286</c:v>
                </c:pt>
                <c:pt idx="1826" formatCode="m/d/yyyy">
                  <c:v>39287</c:v>
                </c:pt>
                <c:pt idx="1827" formatCode="m/d/yyyy">
                  <c:v>39288</c:v>
                </c:pt>
                <c:pt idx="1828" formatCode="m/d/yyyy">
                  <c:v>39289</c:v>
                </c:pt>
                <c:pt idx="1829" formatCode="m/d/yyyy">
                  <c:v>39290</c:v>
                </c:pt>
                <c:pt idx="1830" formatCode="m/d/yyyy">
                  <c:v>39293</c:v>
                </c:pt>
                <c:pt idx="1831" formatCode="m/d/yyyy">
                  <c:v>39294</c:v>
                </c:pt>
                <c:pt idx="1832" formatCode="m/d/yyyy">
                  <c:v>39295</c:v>
                </c:pt>
                <c:pt idx="1833" formatCode="m/d/yyyy">
                  <c:v>39296</c:v>
                </c:pt>
                <c:pt idx="1834" formatCode="m/d/yyyy">
                  <c:v>39297</c:v>
                </c:pt>
                <c:pt idx="1835" formatCode="m/d/yyyy">
                  <c:v>39300</c:v>
                </c:pt>
                <c:pt idx="1836" formatCode="m/d/yyyy">
                  <c:v>39301</c:v>
                </c:pt>
                <c:pt idx="1837" formatCode="m/d/yyyy">
                  <c:v>39302</c:v>
                </c:pt>
                <c:pt idx="1838" formatCode="m/d/yyyy">
                  <c:v>39303</c:v>
                </c:pt>
                <c:pt idx="1839" formatCode="m/d/yyyy">
                  <c:v>39304</c:v>
                </c:pt>
                <c:pt idx="1840" formatCode="m/d/yyyy">
                  <c:v>39307</c:v>
                </c:pt>
                <c:pt idx="1841" formatCode="m/d/yyyy">
                  <c:v>39308</c:v>
                </c:pt>
                <c:pt idx="1842" formatCode="m/d/yyyy">
                  <c:v>39309</c:v>
                </c:pt>
                <c:pt idx="1843" formatCode="m/d/yyyy">
                  <c:v>39310</c:v>
                </c:pt>
                <c:pt idx="1844" formatCode="m/d/yyyy">
                  <c:v>39311</c:v>
                </c:pt>
                <c:pt idx="1845" formatCode="m/d/yyyy">
                  <c:v>39315</c:v>
                </c:pt>
                <c:pt idx="1846" formatCode="m/d/yyyy">
                  <c:v>39316</c:v>
                </c:pt>
                <c:pt idx="1847" formatCode="m/d/yyyy">
                  <c:v>39317</c:v>
                </c:pt>
                <c:pt idx="1848" formatCode="m/d/yyyy">
                  <c:v>39318</c:v>
                </c:pt>
                <c:pt idx="1849" formatCode="m/d/yyyy">
                  <c:v>39321</c:v>
                </c:pt>
                <c:pt idx="1850" formatCode="m/d/yyyy">
                  <c:v>39322</c:v>
                </c:pt>
                <c:pt idx="1851" formatCode="m/d/yyyy">
                  <c:v>39323</c:v>
                </c:pt>
                <c:pt idx="1852" formatCode="m/d/yyyy">
                  <c:v>39324</c:v>
                </c:pt>
                <c:pt idx="1853" formatCode="m/d/yyyy">
                  <c:v>39325</c:v>
                </c:pt>
                <c:pt idx="1854" formatCode="m/d/yyyy">
                  <c:v>39328</c:v>
                </c:pt>
                <c:pt idx="1855" formatCode="m/d/yyyy">
                  <c:v>39329</c:v>
                </c:pt>
                <c:pt idx="1856" formatCode="m/d/yyyy">
                  <c:v>39330</c:v>
                </c:pt>
                <c:pt idx="1857" formatCode="m/d/yyyy">
                  <c:v>39331</c:v>
                </c:pt>
                <c:pt idx="1858" formatCode="m/d/yyyy">
                  <c:v>39332</c:v>
                </c:pt>
                <c:pt idx="1859" formatCode="m/d/yyyy">
                  <c:v>39335</c:v>
                </c:pt>
                <c:pt idx="1860" formatCode="m/d/yyyy">
                  <c:v>39336</c:v>
                </c:pt>
                <c:pt idx="1861" formatCode="m/d/yyyy">
                  <c:v>39337</c:v>
                </c:pt>
                <c:pt idx="1862" formatCode="m/d/yyyy">
                  <c:v>39338</c:v>
                </c:pt>
                <c:pt idx="1863" formatCode="m/d/yyyy">
                  <c:v>39339</c:v>
                </c:pt>
                <c:pt idx="1864" formatCode="m/d/yyyy">
                  <c:v>39342</c:v>
                </c:pt>
                <c:pt idx="1865" formatCode="m/d/yyyy">
                  <c:v>39343</c:v>
                </c:pt>
                <c:pt idx="1866" formatCode="m/d/yyyy">
                  <c:v>39344</c:v>
                </c:pt>
                <c:pt idx="1867" formatCode="m/d/yyyy">
                  <c:v>39345</c:v>
                </c:pt>
                <c:pt idx="1868" formatCode="m/d/yyyy">
                  <c:v>39346</c:v>
                </c:pt>
                <c:pt idx="1869" formatCode="m/d/yyyy">
                  <c:v>39349</c:v>
                </c:pt>
                <c:pt idx="1870" formatCode="m/d/yyyy">
                  <c:v>39350</c:v>
                </c:pt>
                <c:pt idx="1871" formatCode="m/d/yyyy">
                  <c:v>39351</c:v>
                </c:pt>
                <c:pt idx="1872" formatCode="m/d/yyyy">
                  <c:v>39352</c:v>
                </c:pt>
                <c:pt idx="1873" formatCode="m/d/yyyy">
                  <c:v>39353</c:v>
                </c:pt>
                <c:pt idx="1874" formatCode="m/d/yyyy">
                  <c:v>39356</c:v>
                </c:pt>
                <c:pt idx="1875" formatCode="m/d/yyyy">
                  <c:v>39357</c:v>
                </c:pt>
                <c:pt idx="1876" formatCode="m/d/yyyy">
                  <c:v>39358</c:v>
                </c:pt>
                <c:pt idx="1877" formatCode="m/d/yyyy">
                  <c:v>39359</c:v>
                </c:pt>
                <c:pt idx="1878" formatCode="m/d/yyyy">
                  <c:v>39360</c:v>
                </c:pt>
                <c:pt idx="1879" formatCode="m/d/yyyy">
                  <c:v>39363</c:v>
                </c:pt>
                <c:pt idx="1880" formatCode="m/d/yyyy">
                  <c:v>39364</c:v>
                </c:pt>
                <c:pt idx="1881" formatCode="m/d/yyyy">
                  <c:v>39365</c:v>
                </c:pt>
                <c:pt idx="1882" formatCode="m/d/yyyy">
                  <c:v>39366</c:v>
                </c:pt>
                <c:pt idx="1883" formatCode="m/d/yyyy">
                  <c:v>39367</c:v>
                </c:pt>
                <c:pt idx="1884" formatCode="m/d/yyyy">
                  <c:v>39370</c:v>
                </c:pt>
                <c:pt idx="1885" formatCode="m/d/yyyy">
                  <c:v>39371</c:v>
                </c:pt>
                <c:pt idx="1886" formatCode="m/d/yyyy">
                  <c:v>39372</c:v>
                </c:pt>
                <c:pt idx="1887" formatCode="m/d/yyyy">
                  <c:v>39373</c:v>
                </c:pt>
                <c:pt idx="1888" formatCode="m/d/yyyy">
                  <c:v>39374</c:v>
                </c:pt>
                <c:pt idx="1889" formatCode="m/d/yyyy">
                  <c:v>39375</c:v>
                </c:pt>
                <c:pt idx="1890" formatCode="m/d/yyyy">
                  <c:v>39379</c:v>
                </c:pt>
                <c:pt idx="1891" formatCode="m/d/yyyy">
                  <c:v>39380</c:v>
                </c:pt>
                <c:pt idx="1892" formatCode="m/d/yyyy">
                  <c:v>39381</c:v>
                </c:pt>
                <c:pt idx="1893" formatCode="m/d/yyyy">
                  <c:v>39382</c:v>
                </c:pt>
                <c:pt idx="1894" formatCode="m/d/yyyy">
                  <c:v>39384</c:v>
                </c:pt>
                <c:pt idx="1895" formatCode="m/d/yyyy">
                  <c:v>39385</c:v>
                </c:pt>
                <c:pt idx="1896" formatCode="m/d/yyyy">
                  <c:v>39386</c:v>
                </c:pt>
                <c:pt idx="1897" formatCode="m/d/yyyy">
                  <c:v>39391</c:v>
                </c:pt>
                <c:pt idx="1898" formatCode="m/d/yyyy">
                  <c:v>39392</c:v>
                </c:pt>
                <c:pt idx="1899" formatCode="m/d/yyyy">
                  <c:v>39393</c:v>
                </c:pt>
                <c:pt idx="1900" formatCode="m/d/yyyy">
                  <c:v>39394</c:v>
                </c:pt>
                <c:pt idx="1901" formatCode="m/d/yyyy">
                  <c:v>39395</c:v>
                </c:pt>
                <c:pt idx="1902" formatCode="m/d/yyyy">
                  <c:v>39398</c:v>
                </c:pt>
                <c:pt idx="1903" formatCode="m/d/yyyy">
                  <c:v>39399</c:v>
                </c:pt>
                <c:pt idx="1904" formatCode="m/d/yyyy">
                  <c:v>39400</c:v>
                </c:pt>
                <c:pt idx="1905" formatCode="m/d/yyyy">
                  <c:v>39401</c:v>
                </c:pt>
                <c:pt idx="1906" formatCode="m/d/yyyy">
                  <c:v>39402</c:v>
                </c:pt>
                <c:pt idx="1907" formatCode="m/d/yyyy">
                  <c:v>39405</c:v>
                </c:pt>
                <c:pt idx="1908" formatCode="m/d/yyyy">
                  <c:v>39406</c:v>
                </c:pt>
                <c:pt idx="1909" formatCode="m/d/yyyy">
                  <c:v>39407</c:v>
                </c:pt>
                <c:pt idx="1910" formatCode="m/d/yyyy">
                  <c:v>39408</c:v>
                </c:pt>
                <c:pt idx="1911" formatCode="m/d/yyyy">
                  <c:v>39409</c:v>
                </c:pt>
                <c:pt idx="1912" formatCode="m/d/yyyy">
                  <c:v>39412</c:v>
                </c:pt>
                <c:pt idx="1913" formatCode="m/d/yyyy">
                  <c:v>39413</c:v>
                </c:pt>
                <c:pt idx="1914" formatCode="m/d/yyyy">
                  <c:v>39414</c:v>
                </c:pt>
                <c:pt idx="1915" formatCode="m/d/yyyy">
                  <c:v>39415</c:v>
                </c:pt>
                <c:pt idx="1916" formatCode="m/d/yyyy">
                  <c:v>39416</c:v>
                </c:pt>
                <c:pt idx="1917" formatCode="m/d/yyyy">
                  <c:v>39419</c:v>
                </c:pt>
                <c:pt idx="1918" formatCode="m/d/yyyy">
                  <c:v>39420</c:v>
                </c:pt>
                <c:pt idx="1919" formatCode="m/d/yyyy">
                  <c:v>39421</c:v>
                </c:pt>
                <c:pt idx="1920" formatCode="m/d/yyyy">
                  <c:v>39422</c:v>
                </c:pt>
                <c:pt idx="1921" formatCode="m/d/yyyy">
                  <c:v>39423</c:v>
                </c:pt>
                <c:pt idx="1922" formatCode="m/d/yyyy">
                  <c:v>39426</c:v>
                </c:pt>
                <c:pt idx="1923" formatCode="m/d/yyyy">
                  <c:v>39427</c:v>
                </c:pt>
                <c:pt idx="1924" formatCode="m/d/yyyy">
                  <c:v>39428</c:v>
                </c:pt>
                <c:pt idx="1925" formatCode="m/d/yyyy">
                  <c:v>39429</c:v>
                </c:pt>
                <c:pt idx="1926" formatCode="m/d/yyyy">
                  <c:v>39430</c:v>
                </c:pt>
                <c:pt idx="1927" formatCode="m/d/yyyy">
                  <c:v>39433</c:v>
                </c:pt>
                <c:pt idx="1928" formatCode="m/d/yyyy">
                  <c:v>39434</c:v>
                </c:pt>
                <c:pt idx="1929" formatCode="m/d/yyyy">
                  <c:v>39435</c:v>
                </c:pt>
                <c:pt idx="1930" formatCode="m/d/yyyy">
                  <c:v>39436</c:v>
                </c:pt>
                <c:pt idx="1931" formatCode="m/d/yyyy">
                  <c:v>39437</c:v>
                </c:pt>
                <c:pt idx="1932" formatCode="m/d/yyyy">
                  <c:v>39438</c:v>
                </c:pt>
                <c:pt idx="1933" formatCode="m/d/yyyy">
                  <c:v>39443</c:v>
                </c:pt>
                <c:pt idx="1934" formatCode="m/d/yyyy">
                  <c:v>39444</c:v>
                </c:pt>
                <c:pt idx="1935" formatCode="m/d/yyyy">
                  <c:v>39445</c:v>
                </c:pt>
                <c:pt idx="1936" formatCode="yyyy/mm/dd;@">
                  <c:v>39449</c:v>
                </c:pt>
                <c:pt idx="1937" formatCode="yyyy/mm/dd;@">
                  <c:v>39450</c:v>
                </c:pt>
                <c:pt idx="1938" formatCode="yyyy/mm/dd;@">
                  <c:v>39451</c:v>
                </c:pt>
                <c:pt idx="1939" formatCode="yyyy/mm/dd;@">
                  <c:v>39454</c:v>
                </c:pt>
                <c:pt idx="1940" formatCode="yyyy/mm/dd;@">
                  <c:v>39455</c:v>
                </c:pt>
                <c:pt idx="1941" formatCode="yyyy/mm/dd;@">
                  <c:v>39456</c:v>
                </c:pt>
                <c:pt idx="1942" formatCode="yyyy/mm/dd;@">
                  <c:v>39457</c:v>
                </c:pt>
                <c:pt idx="1943" formatCode="yyyy/mm/dd;@">
                  <c:v>39458</c:v>
                </c:pt>
                <c:pt idx="1944" formatCode="yyyy/mm/dd;@">
                  <c:v>39461</c:v>
                </c:pt>
                <c:pt idx="1945" formatCode="yyyy/mm/dd;@">
                  <c:v>39462</c:v>
                </c:pt>
                <c:pt idx="1946" formatCode="yyyy/mm/dd;@">
                  <c:v>39463</c:v>
                </c:pt>
                <c:pt idx="1947" formatCode="yyyy/mm/dd;@">
                  <c:v>39464</c:v>
                </c:pt>
                <c:pt idx="1948" formatCode="yyyy/mm/dd;@">
                  <c:v>39465</c:v>
                </c:pt>
                <c:pt idx="1949" formatCode="yyyy/mm/dd;@">
                  <c:v>39468</c:v>
                </c:pt>
                <c:pt idx="1950" formatCode="yyyy/mm/dd;@">
                  <c:v>39469</c:v>
                </c:pt>
                <c:pt idx="1951" formatCode="yyyy/mm/dd;@">
                  <c:v>39470</c:v>
                </c:pt>
                <c:pt idx="1952" formatCode="yyyy/mm/dd;@">
                  <c:v>39471</c:v>
                </c:pt>
                <c:pt idx="1953" formatCode="yyyy/mm/dd;@">
                  <c:v>39472</c:v>
                </c:pt>
                <c:pt idx="1954" formatCode="yyyy/mm/dd;@">
                  <c:v>39475</c:v>
                </c:pt>
                <c:pt idx="1955" formatCode="yyyy/mm/dd;@">
                  <c:v>39476</c:v>
                </c:pt>
                <c:pt idx="1956" formatCode="yyyy/mm/dd;@">
                  <c:v>39477</c:v>
                </c:pt>
                <c:pt idx="1957" formatCode="yyyy/mm/dd;@">
                  <c:v>39478</c:v>
                </c:pt>
                <c:pt idx="1958" formatCode="yyyy/mm/dd;@">
                  <c:v>39479</c:v>
                </c:pt>
                <c:pt idx="1959" formatCode="yyyy/mm/dd;@">
                  <c:v>39482</c:v>
                </c:pt>
                <c:pt idx="1960" formatCode="yyyy/mm/dd;@">
                  <c:v>39483</c:v>
                </c:pt>
                <c:pt idx="1961" formatCode="yyyy/mm/dd;@">
                  <c:v>39484</c:v>
                </c:pt>
                <c:pt idx="1962" formatCode="yyyy/mm/dd;@">
                  <c:v>39485</c:v>
                </c:pt>
                <c:pt idx="1963" formatCode="yyyy/mm/dd;@">
                  <c:v>39486</c:v>
                </c:pt>
                <c:pt idx="1964" formatCode="yyyy/mm/dd;@">
                  <c:v>39489</c:v>
                </c:pt>
                <c:pt idx="1965" formatCode="yyyy/mm/dd;@">
                  <c:v>39490</c:v>
                </c:pt>
                <c:pt idx="1966" formatCode="yyyy/mm/dd;@">
                  <c:v>39491</c:v>
                </c:pt>
                <c:pt idx="1967" formatCode="yyyy/mm/dd;@">
                  <c:v>39492</c:v>
                </c:pt>
                <c:pt idx="1968" formatCode="yyyy/mm/dd;@">
                  <c:v>39493</c:v>
                </c:pt>
                <c:pt idx="1969" formatCode="yyyy/mm/dd;@">
                  <c:v>39496</c:v>
                </c:pt>
                <c:pt idx="1970" formatCode="yyyy/mm/dd;@">
                  <c:v>39497</c:v>
                </c:pt>
                <c:pt idx="1971" formatCode="yyyy/mm/dd;@">
                  <c:v>39498</c:v>
                </c:pt>
                <c:pt idx="1972" formatCode="yyyy/mm/dd;@">
                  <c:v>39499</c:v>
                </c:pt>
                <c:pt idx="1973" formatCode="yyyy/mm/dd;@">
                  <c:v>39500</c:v>
                </c:pt>
                <c:pt idx="1974" formatCode="yyyy/mm/dd;@">
                  <c:v>39503</c:v>
                </c:pt>
                <c:pt idx="1975" formatCode="yyyy/mm/dd;@">
                  <c:v>39504</c:v>
                </c:pt>
                <c:pt idx="1976" formatCode="yyyy/mm/dd;@">
                  <c:v>39505</c:v>
                </c:pt>
                <c:pt idx="1977" formatCode="yyyy/mm/dd;@">
                  <c:v>39506</c:v>
                </c:pt>
                <c:pt idx="1978" formatCode="yyyy/mm/dd;@">
                  <c:v>39507</c:v>
                </c:pt>
                <c:pt idx="1979" formatCode="yyyy/mm/dd;@">
                  <c:v>39510</c:v>
                </c:pt>
                <c:pt idx="1980" formatCode="yyyy/mm/dd;@">
                  <c:v>39511</c:v>
                </c:pt>
                <c:pt idx="1981" formatCode="yyyy/mm/dd;@">
                  <c:v>39512</c:v>
                </c:pt>
                <c:pt idx="1982" formatCode="yyyy/mm/dd;@">
                  <c:v>39513</c:v>
                </c:pt>
                <c:pt idx="1983" formatCode="yyyy/mm/dd;@">
                  <c:v>39514</c:v>
                </c:pt>
                <c:pt idx="1984" formatCode="yyyy/mm/dd;@">
                  <c:v>39517</c:v>
                </c:pt>
                <c:pt idx="1985" formatCode="yyyy/mm/dd;@">
                  <c:v>39518</c:v>
                </c:pt>
                <c:pt idx="1986" formatCode="yyyy/mm/dd;@">
                  <c:v>39519</c:v>
                </c:pt>
                <c:pt idx="1987" formatCode="yyyy/mm/dd;@">
                  <c:v>39520</c:v>
                </c:pt>
                <c:pt idx="1988" formatCode="yyyy/mm/dd;@">
                  <c:v>39521</c:v>
                </c:pt>
                <c:pt idx="1989" formatCode="yyyy/mm/dd;@">
                  <c:v>39524</c:v>
                </c:pt>
                <c:pt idx="1990" formatCode="yyyy/mm/dd;@">
                  <c:v>39525</c:v>
                </c:pt>
                <c:pt idx="1991" formatCode="yyyy/mm/dd;@">
                  <c:v>39526</c:v>
                </c:pt>
                <c:pt idx="1992" formatCode="yyyy/mm/dd;@">
                  <c:v>39527</c:v>
                </c:pt>
                <c:pt idx="1993" formatCode="yyyy/mm/dd;@">
                  <c:v>39528</c:v>
                </c:pt>
                <c:pt idx="1994" formatCode="yyyy/mm/dd;@">
                  <c:v>39532</c:v>
                </c:pt>
                <c:pt idx="1995" formatCode="yyyy/mm/dd;@">
                  <c:v>39533</c:v>
                </c:pt>
                <c:pt idx="1996" formatCode="yyyy/mm/dd;@">
                  <c:v>39534</c:v>
                </c:pt>
                <c:pt idx="1997" formatCode="yyyy/mm/dd;@">
                  <c:v>39535</c:v>
                </c:pt>
                <c:pt idx="1998" formatCode="yyyy/mm/dd;@">
                  <c:v>39538</c:v>
                </c:pt>
                <c:pt idx="1999" formatCode="yyyy/mm/dd;@">
                  <c:v>39539</c:v>
                </c:pt>
                <c:pt idx="2000" formatCode="yyyy/mm/dd;@">
                  <c:v>39540</c:v>
                </c:pt>
                <c:pt idx="2001" formatCode="yyyy/mm/dd;@">
                  <c:v>39541</c:v>
                </c:pt>
                <c:pt idx="2002" formatCode="yyyy/mm/dd;@">
                  <c:v>39542</c:v>
                </c:pt>
                <c:pt idx="2003" formatCode="yyyy/mm/dd;@">
                  <c:v>39545</c:v>
                </c:pt>
                <c:pt idx="2004" formatCode="yyyy/mm/dd;@">
                  <c:v>39546</c:v>
                </c:pt>
                <c:pt idx="2005" formatCode="yyyy/mm/dd;@">
                  <c:v>39547</c:v>
                </c:pt>
                <c:pt idx="2006" formatCode="yyyy/mm/dd;@">
                  <c:v>39548</c:v>
                </c:pt>
                <c:pt idx="2007" formatCode="yyyy/mm/dd;@">
                  <c:v>39549</c:v>
                </c:pt>
                <c:pt idx="2008" formatCode="yyyy/mm/dd;@">
                  <c:v>39552</c:v>
                </c:pt>
                <c:pt idx="2009" formatCode="yyyy/mm/dd;@">
                  <c:v>39553</c:v>
                </c:pt>
                <c:pt idx="2010" formatCode="yyyy/mm/dd;@">
                  <c:v>39554</c:v>
                </c:pt>
                <c:pt idx="2011" formatCode="yyyy/mm/dd;@">
                  <c:v>39555</c:v>
                </c:pt>
                <c:pt idx="2012" formatCode="yyyy/mm/dd;@">
                  <c:v>39556</c:v>
                </c:pt>
                <c:pt idx="2013" formatCode="yyyy/mm/dd;@">
                  <c:v>39559</c:v>
                </c:pt>
                <c:pt idx="2014" formatCode="yyyy/mm/dd;@">
                  <c:v>39560</c:v>
                </c:pt>
                <c:pt idx="2015" formatCode="yyyy/mm/dd;@">
                  <c:v>39561</c:v>
                </c:pt>
                <c:pt idx="2016" formatCode="yyyy/mm/dd;@">
                  <c:v>39562</c:v>
                </c:pt>
                <c:pt idx="2017" formatCode="yyyy/mm/dd;@">
                  <c:v>39563</c:v>
                </c:pt>
                <c:pt idx="2018" formatCode="yyyy/mm/dd;@">
                  <c:v>39564</c:v>
                </c:pt>
                <c:pt idx="2019" formatCode="yyyy/mm/dd;@">
                  <c:v>39566</c:v>
                </c:pt>
                <c:pt idx="2020" formatCode="yyyy/mm/dd;@">
                  <c:v>39567</c:v>
                </c:pt>
                <c:pt idx="2021" formatCode="yyyy/mm/dd;@">
                  <c:v>39568</c:v>
                </c:pt>
                <c:pt idx="2022" formatCode="yyyy/mm/dd;@">
                  <c:v>39573</c:v>
                </c:pt>
                <c:pt idx="2023" formatCode="yyyy/mm/dd;@">
                  <c:v>39574</c:v>
                </c:pt>
                <c:pt idx="2024" formatCode="yyyy/mm/dd;@">
                  <c:v>39575</c:v>
                </c:pt>
                <c:pt idx="2025" formatCode="yyyy/mm/dd;@">
                  <c:v>39576</c:v>
                </c:pt>
                <c:pt idx="2026" formatCode="yyyy/mm/dd;@">
                  <c:v>39577</c:v>
                </c:pt>
                <c:pt idx="2027" formatCode="yyyy/mm/dd;@">
                  <c:v>39581</c:v>
                </c:pt>
                <c:pt idx="2028" formatCode="yyyy/mm/dd;@">
                  <c:v>39582</c:v>
                </c:pt>
                <c:pt idx="2029" formatCode="yyyy/mm/dd;@">
                  <c:v>39583</c:v>
                </c:pt>
                <c:pt idx="2030" formatCode="yyyy/mm/dd;@">
                  <c:v>39584</c:v>
                </c:pt>
                <c:pt idx="2031" formatCode="yyyy/mm/dd;@">
                  <c:v>39587</c:v>
                </c:pt>
                <c:pt idx="2032" formatCode="yyyy/mm/dd;@">
                  <c:v>39588</c:v>
                </c:pt>
                <c:pt idx="2033" formatCode="yyyy/mm/dd;@">
                  <c:v>39589</c:v>
                </c:pt>
                <c:pt idx="2034" formatCode="yyyy/mm/dd;@">
                  <c:v>39590</c:v>
                </c:pt>
                <c:pt idx="2035" formatCode="yyyy/mm/dd;@">
                  <c:v>39591</c:v>
                </c:pt>
                <c:pt idx="2036" formatCode="yyyy/mm/dd;@">
                  <c:v>39594</c:v>
                </c:pt>
                <c:pt idx="2037" formatCode="yyyy/mm/dd;@">
                  <c:v>39595</c:v>
                </c:pt>
                <c:pt idx="2038" formatCode="yyyy/mm/dd;@">
                  <c:v>39596</c:v>
                </c:pt>
                <c:pt idx="2039" formatCode="yyyy/mm/dd;@">
                  <c:v>39597</c:v>
                </c:pt>
                <c:pt idx="2040" formatCode="yyyy/mm/dd;@">
                  <c:v>39598</c:v>
                </c:pt>
                <c:pt idx="2041" formatCode="yyyy/mm/dd;@">
                  <c:v>39601</c:v>
                </c:pt>
                <c:pt idx="2042" formatCode="yyyy/mm/dd;@">
                  <c:v>39602</c:v>
                </c:pt>
                <c:pt idx="2043" formatCode="yyyy/mm/dd;@">
                  <c:v>39603</c:v>
                </c:pt>
                <c:pt idx="2044" formatCode="yyyy/mm/dd;@">
                  <c:v>39604</c:v>
                </c:pt>
                <c:pt idx="2045" formatCode="yyyy/mm/dd;@">
                  <c:v>39605</c:v>
                </c:pt>
                <c:pt idx="2046" formatCode="yyyy/mm/dd;@">
                  <c:v>39608</c:v>
                </c:pt>
                <c:pt idx="2047" formatCode="yyyy/mm/dd;@">
                  <c:v>39609</c:v>
                </c:pt>
                <c:pt idx="2048" formatCode="yyyy/mm/dd;@">
                  <c:v>39610</c:v>
                </c:pt>
                <c:pt idx="2049" formatCode="yyyy/mm/dd;@">
                  <c:v>39611</c:v>
                </c:pt>
                <c:pt idx="2050" formatCode="yyyy/mm/dd;@">
                  <c:v>39612</c:v>
                </c:pt>
                <c:pt idx="2051" formatCode="yyyy/mm/dd;@">
                  <c:v>39615</c:v>
                </c:pt>
                <c:pt idx="2052" formatCode="yyyy/mm/dd;@">
                  <c:v>39616</c:v>
                </c:pt>
                <c:pt idx="2053" formatCode="yyyy/mm/dd;@">
                  <c:v>39617</c:v>
                </c:pt>
                <c:pt idx="2054" formatCode="yyyy/mm/dd;@">
                  <c:v>39618</c:v>
                </c:pt>
                <c:pt idx="2055" formatCode="yyyy/mm/dd;@">
                  <c:v>39619</c:v>
                </c:pt>
                <c:pt idx="2056" formatCode="yyyy/mm/dd;@">
                  <c:v>39622</c:v>
                </c:pt>
                <c:pt idx="2057" formatCode="yyyy/mm/dd;@">
                  <c:v>39623</c:v>
                </c:pt>
                <c:pt idx="2058" formatCode="yyyy/mm/dd;@">
                  <c:v>39624</c:v>
                </c:pt>
                <c:pt idx="2059" formatCode="yyyy/mm/dd;@">
                  <c:v>39625</c:v>
                </c:pt>
                <c:pt idx="2060" formatCode="yyyy/mm/dd;@">
                  <c:v>39626</c:v>
                </c:pt>
                <c:pt idx="2061" formatCode="yyyy/mm/dd;@">
                  <c:v>39629</c:v>
                </c:pt>
                <c:pt idx="2062" formatCode="yyyy/mm/dd;@">
                  <c:v>39630</c:v>
                </c:pt>
                <c:pt idx="2063" formatCode="yyyy/mm/dd;@">
                  <c:v>39631</c:v>
                </c:pt>
                <c:pt idx="2064" formatCode="yyyy/mm/dd;@">
                  <c:v>39632</c:v>
                </c:pt>
                <c:pt idx="2065" formatCode="yyyy/mm/dd;@">
                  <c:v>39633</c:v>
                </c:pt>
                <c:pt idx="2066" formatCode="yyyy/mm/dd;@">
                  <c:v>39636</c:v>
                </c:pt>
                <c:pt idx="2067" formatCode="yyyy/mm/dd;@">
                  <c:v>39637</c:v>
                </c:pt>
                <c:pt idx="2068" formatCode="yyyy/mm/dd;@">
                  <c:v>39638</c:v>
                </c:pt>
                <c:pt idx="2069" formatCode="yyyy/mm/dd;@">
                  <c:v>39639</c:v>
                </c:pt>
                <c:pt idx="2070" formatCode="yyyy/mm/dd;@">
                  <c:v>39640</c:v>
                </c:pt>
                <c:pt idx="2071" formatCode="yyyy/mm/dd;@">
                  <c:v>39643</c:v>
                </c:pt>
                <c:pt idx="2072" formatCode="yyyy/mm/dd;@">
                  <c:v>39644</c:v>
                </c:pt>
                <c:pt idx="2073" formatCode="yyyy/mm/dd;@">
                  <c:v>39645</c:v>
                </c:pt>
                <c:pt idx="2074" formatCode="yyyy/mm/dd;@">
                  <c:v>39646</c:v>
                </c:pt>
                <c:pt idx="2075" formatCode="yyyy/mm/dd;@">
                  <c:v>39647</c:v>
                </c:pt>
                <c:pt idx="2076" formatCode="yyyy/mm/dd;@">
                  <c:v>39650</c:v>
                </c:pt>
                <c:pt idx="2077" formatCode="yyyy/mm/dd;@">
                  <c:v>39651</c:v>
                </c:pt>
                <c:pt idx="2078" formatCode="yyyy/mm/dd;@">
                  <c:v>39652</c:v>
                </c:pt>
                <c:pt idx="2079" formatCode="yyyy/mm/dd;@">
                  <c:v>39653</c:v>
                </c:pt>
                <c:pt idx="2080" formatCode="yyyy/mm/dd;@">
                  <c:v>39654</c:v>
                </c:pt>
                <c:pt idx="2081" formatCode="yyyy/mm/dd;@">
                  <c:v>39657</c:v>
                </c:pt>
                <c:pt idx="2082" formatCode="yyyy/mm/dd;@">
                  <c:v>39658</c:v>
                </c:pt>
                <c:pt idx="2083" formatCode="yyyy/mm/dd;@">
                  <c:v>39659</c:v>
                </c:pt>
                <c:pt idx="2084" formatCode="yyyy/mm/dd;@">
                  <c:v>39660</c:v>
                </c:pt>
                <c:pt idx="2085" formatCode="yyyy/mm/dd;@">
                  <c:v>39661</c:v>
                </c:pt>
                <c:pt idx="2086" formatCode="yyyy/mm/dd;@">
                  <c:v>39664</c:v>
                </c:pt>
                <c:pt idx="2087" formatCode="yyyy/mm/dd;@">
                  <c:v>39665</c:v>
                </c:pt>
                <c:pt idx="2088" formatCode="yyyy/mm/dd;@">
                  <c:v>39666</c:v>
                </c:pt>
                <c:pt idx="2089" formatCode="yyyy/mm/dd;@">
                  <c:v>39667</c:v>
                </c:pt>
                <c:pt idx="2090" formatCode="yyyy/mm/dd;@">
                  <c:v>39668</c:v>
                </c:pt>
                <c:pt idx="2091" formatCode="yyyy/mm/dd;@">
                  <c:v>39671</c:v>
                </c:pt>
                <c:pt idx="2092" formatCode="yyyy/mm/dd;@">
                  <c:v>39672</c:v>
                </c:pt>
                <c:pt idx="2093" formatCode="yyyy/mm/dd;@">
                  <c:v>39673</c:v>
                </c:pt>
                <c:pt idx="2094" formatCode="yyyy/mm/dd;@">
                  <c:v>39674</c:v>
                </c:pt>
                <c:pt idx="2095" formatCode="yyyy/mm/dd;@">
                  <c:v>39675</c:v>
                </c:pt>
                <c:pt idx="2096" formatCode="yyyy/mm/dd;@">
                  <c:v>39678</c:v>
                </c:pt>
                <c:pt idx="2097" formatCode="yyyy/mm/dd;@">
                  <c:v>39679</c:v>
                </c:pt>
                <c:pt idx="2098" formatCode="yyyy/mm/dd;@">
                  <c:v>39681</c:v>
                </c:pt>
                <c:pt idx="2099" formatCode="yyyy/mm/dd;@">
                  <c:v>39682</c:v>
                </c:pt>
                <c:pt idx="2100" formatCode="yyyy/mm/dd;@">
                  <c:v>39685</c:v>
                </c:pt>
                <c:pt idx="2101" formatCode="yyyy/mm/dd;@">
                  <c:v>39686</c:v>
                </c:pt>
                <c:pt idx="2102" formatCode="yyyy/mm/dd;@">
                  <c:v>39687</c:v>
                </c:pt>
                <c:pt idx="2103" formatCode="yyyy/mm/dd;@">
                  <c:v>39688</c:v>
                </c:pt>
                <c:pt idx="2104" formatCode="yyyy/mm/dd;@">
                  <c:v>39689</c:v>
                </c:pt>
                <c:pt idx="2105" formatCode="yyyy/mm/dd;@">
                  <c:v>39692</c:v>
                </c:pt>
                <c:pt idx="2106" formatCode="yyyy/mm/dd;@">
                  <c:v>39693</c:v>
                </c:pt>
                <c:pt idx="2107" formatCode="yyyy/mm/dd;@">
                  <c:v>39694</c:v>
                </c:pt>
                <c:pt idx="2108" formatCode="yyyy/mm/dd;@">
                  <c:v>39695</c:v>
                </c:pt>
                <c:pt idx="2109" formatCode="yyyy/mm/dd;@">
                  <c:v>39696</c:v>
                </c:pt>
                <c:pt idx="2110" formatCode="yyyy/mm/dd;@">
                  <c:v>39699</c:v>
                </c:pt>
                <c:pt idx="2111" formatCode="yyyy/mm/dd;@">
                  <c:v>39700</c:v>
                </c:pt>
                <c:pt idx="2112" formatCode="yyyy/mm/dd;@">
                  <c:v>39701</c:v>
                </c:pt>
                <c:pt idx="2113" formatCode="yyyy/mm/dd;@">
                  <c:v>39702</c:v>
                </c:pt>
                <c:pt idx="2114" formatCode="yyyy/mm/dd;@">
                  <c:v>39703</c:v>
                </c:pt>
                <c:pt idx="2115" formatCode="yyyy/mm/dd;@">
                  <c:v>39706</c:v>
                </c:pt>
                <c:pt idx="2116" formatCode="yyyy/mm/dd;@">
                  <c:v>39707</c:v>
                </c:pt>
                <c:pt idx="2117" formatCode="yyyy/mm/dd;@">
                  <c:v>39708</c:v>
                </c:pt>
                <c:pt idx="2118" formatCode="yyyy/mm/dd;@">
                  <c:v>39709</c:v>
                </c:pt>
                <c:pt idx="2119" formatCode="yyyy/mm/dd;@">
                  <c:v>39710</c:v>
                </c:pt>
                <c:pt idx="2120" formatCode="yyyy/mm/dd;@">
                  <c:v>39713</c:v>
                </c:pt>
                <c:pt idx="2121" formatCode="yyyy/mm/dd;@">
                  <c:v>39714</c:v>
                </c:pt>
                <c:pt idx="2122" formatCode="yyyy/mm/dd;@">
                  <c:v>39715</c:v>
                </c:pt>
                <c:pt idx="2123" formatCode="yyyy/mm/dd;@">
                  <c:v>39716</c:v>
                </c:pt>
                <c:pt idx="2124" formatCode="yyyy/mm/dd;@">
                  <c:v>39717</c:v>
                </c:pt>
                <c:pt idx="2125" formatCode="yyyy/mm/dd;@">
                  <c:v>39720</c:v>
                </c:pt>
                <c:pt idx="2126" formatCode="yyyy/mm/dd;@">
                  <c:v>39721</c:v>
                </c:pt>
                <c:pt idx="2127" formatCode="yyyy/mm/dd;@">
                  <c:v>39722</c:v>
                </c:pt>
                <c:pt idx="2128" formatCode="yyyy/mm/dd;@">
                  <c:v>39723</c:v>
                </c:pt>
                <c:pt idx="2129" formatCode="yyyy/mm/dd;@">
                  <c:v>39724</c:v>
                </c:pt>
                <c:pt idx="2130" formatCode="yyyy/mm/dd;@">
                  <c:v>39727</c:v>
                </c:pt>
                <c:pt idx="2131" formatCode="yyyy/mm/dd;@">
                  <c:v>39728</c:v>
                </c:pt>
                <c:pt idx="2132" formatCode="yyyy/mm/dd;@">
                  <c:v>39729</c:v>
                </c:pt>
                <c:pt idx="2133" formatCode="yyyy/mm/dd;@">
                  <c:v>39730</c:v>
                </c:pt>
                <c:pt idx="2134" formatCode="yyyy/mm/dd;@">
                  <c:v>39731</c:v>
                </c:pt>
                <c:pt idx="2135" formatCode="yyyy/mm/dd;@">
                  <c:v>39734</c:v>
                </c:pt>
                <c:pt idx="2136" formatCode="yyyy/mm/dd;@">
                  <c:v>39735</c:v>
                </c:pt>
                <c:pt idx="2137" formatCode="yyyy/mm/dd;@">
                  <c:v>39736</c:v>
                </c:pt>
                <c:pt idx="2138" formatCode="yyyy/mm/dd;@">
                  <c:v>39737</c:v>
                </c:pt>
                <c:pt idx="2139" formatCode="yyyy/mm/dd;@">
                  <c:v>39738</c:v>
                </c:pt>
                <c:pt idx="2140" formatCode="yyyy/mm/dd;@">
                  <c:v>39739</c:v>
                </c:pt>
                <c:pt idx="2141" formatCode="yyyy/mm/dd;@">
                  <c:v>39741</c:v>
                </c:pt>
                <c:pt idx="2142" formatCode="yyyy/mm/dd;@">
                  <c:v>39742</c:v>
                </c:pt>
                <c:pt idx="2143" formatCode="yyyy/mm/dd;@">
                  <c:v>39743</c:v>
                </c:pt>
                <c:pt idx="2144" formatCode="yyyy/mm/dd;@">
                  <c:v>39748</c:v>
                </c:pt>
                <c:pt idx="2145" formatCode="yyyy/mm/dd;@">
                  <c:v>39749</c:v>
                </c:pt>
                <c:pt idx="2146" formatCode="yyyy/mm/dd;@">
                  <c:v>39750</c:v>
                </c:pt>
                <c:pt idx="2147" formatCode="yyyy/mm/dd;@">
                  <c:v>39751</c:v>
                </c:pt>
                <c:pt idx="2148" formatCode="yyyy/mm/dd;@">
                  <c:v>39752</c:v>
                </c:pt>
                <c:pt idx="2149" formatCode="yyyy/mm/dd;@">
                  <c:v>39755</c:v>
                </c:pt>
                <c:pt idx="2150" formatCode="yyyy/mm/dd;@">
                  <c:v>39756</c:v>
                </c:pt>
                <c:pt idx="2151" formatCode="yyyy/mm/dd;@">
                  <c:v>39757</c:v>
                </c:pt>
                <c:pt idx="2152" formatCode="yyyy/mm/dd;@">
                  <c:v>39758</c:v>
                </c:pt>
                <c:pt idx="2153" formatCode="yyyy/mm/dd;@">
                  <c:v>39759</c:v>
                </c:pt>
                <c:pt idx="2154" formatCode="yyyy/mm/dd;@">
                  <c:v>39762</c:v>
                </c:pt>
                <c:pt idx="2155" formatCode="yyyy/mm/dd;@">
                  <c:v>39763</c:v>
                </c:pt>
                <c:pt idx="2156" formatCode="yyyy/mm/dd;@">
                  <c:v>39764</c:v>
                </c:pt>
                <c:pt idx="2157" formatCode="yyyy/mm/dd;@">
                  <c:v>39765</c:v>
                </c:pt>
                <c:pt idx="2158" formatCode="yyyy/mm/dd;@">
                  <c:v>39766</c:v>
                </c:pt>
                <c:pt idx="2159" formatCode="yyyy/mm/dd;@">
                  <c:v>39769</c:v>
                </c:pt>
                <c:pt idx="2160" formatCode="yyyy/mm/dd;@">
                  <c:v>39770</c:v>
                </c:pt>
                <c:pt idx="2161" formatCode="yyyy/mm/dd;@">
                  <c:v>39771</c:v>
                </c:pt>
                <c:pt idx="2162" formatCode="yyyy/mm/dd;@">
                  <c:v>39772</c:v>
                </c:pt>
                <c:pt idx="2163" formatCode="yyyy/mm/dd;@">
                  <c:v>39773</c:v>
                </c:pt>
                <c:pt idx="2164" formatCode="yyyy/mm/dd;@">
                  <c:v>39776</c:v>
                </c:pt>
                <c:pt idx="2165" formatCode="yyyy/mm/dd;@">
                  <c:v>39777</c:v>
                </c:pt>
                <c:pt idx="2166" formatCode="yyyy/mm/dd;@">
                  <c:v>39778</c:v>
                </c:pt>
                <c:pt idx="2167" formatCode="yyyy/mm/dd;@">
                  <c:v>39779</c:v>
                </c:pt>
                <c:pt idx="2168" formatCode="yyyy/mm/dd;@">
                  <c:v>39780</c:v>
                </c:pt>
                <c:pt idx="2169" formatCode="yyyy/mm/dd;@">
                  <c:v>39783</c:v>
                </c:pt>
                <c:pt idx="2170" formatCode="yyyy/mm/dd;@">
                  <c:v>39784</c:v>
                </c:pt>
                <c:pt idx="2171" formatCode="yyyy/mm/dd;@">
                  <c:v>39785</c:v>
                </c:pt>
                <c:pt idx="2172" formatCode="yyyy/mm/dd;@">
                  <c:v>39786</c:v>
                </c:pt>
                <c:pt idx="2173" formatCode="yyyy/mm/dd;@">
                  <c:v>39787</c:v>
                </c:pt>
                <c:pt idx="2174" formatCode="yyyy/mm/dd;@">
                  <c:v>39790</c:v>
                </c:pt>
                <c:pt idx="2175" formatCode="yyyy/mm/dd;@">
                  <c:v>39791</c:v>
                </c:pt>
                <c:pt idx="2176" formatCode="yyyy/mm/dd;@">
                  <c:v>39792</c:v>
                </c:pt>
                <c:pt idx="2177" formatCode="yyyy/mm/dd;@">
                  <c:v>39793</c:v>
                </c:pt>
                <c:pt idx="2178" formatCode="yyyy/mm/dd;@">
                  <c:v>39794</c:v>
                </c:pt>
                <c:pt idx="2179" formatCode="yyyy/mm/dd;@">
                  <c:v>39797</c:v>
                </c:pt>
                <c:pt idx="2180" formatCode="yyyy/mm/dd;@">
                  <c:v>39798</c:v>
                </c:pt>
                <c:pt idx="2181" formatCode="yyyy/mm/dd;@">
                  <c:v>39799</c:v>
                </c:pt>
                <c:pt idx="2182" formatCode="yyyy/mm/dd;@">
                  <c:v>39800</c:v>
                </c:pt>
                <c:pt idx="2183" formatCode="yyyy/mm/dd;@">
                  <c:v>39801</c:v>
                </c:pt>
                <c:pt idx="2184" formatCode="yyyy/mm/dd;@">
                  <c:v>39802</c:v>
                </c:pt>
                <c:pt idx="2185" formatCode="yyyy/mm/dd;@">
                  <c:v>39804</c:v>
                </c:pt>
                <c:pt idx="2186" formatCode="yyyy/mm/dd;@">
                  <c:v>39805</c:v>
                </c:pt>
                <c:pt idx="2187" formatCode="yyyy/mm/dd;@">
                  <c:v>39811</c:v>
                </c:pt>
                <c:pt idx="2188" formatCode="yyyy/mm/dd;@">
                  <c:v>39812</c:v>
                </c:pt>
                <c:pt idx="2189" formatCode="yyyy/mm/dd;@">
                  <c:v>39813</c:v>
                </c:pt>
                <c:pt idx="2190" formatCode="m/d/yyyy">
                  <c:v>39818</c:v>
                </c:pt>
                <c:pt idx="2191" formatCode="m/d/yyyy">
                  <c:v>39819</c:v>
                </c:pt>
                <c:pt idx="2192" formatCode="m/d/yyyy">
                  <c:v>39820</c:v>
                </c:pt>
                <c:pt idx="2193" formatCode="m/d/yyyy">
                  <c:v>39821</c:v>
                </c:pt>
                <c:pt idx="2194" formatCode="m/d/yyyy">
                  <c:v>39822</c:v>
                </c:pt>
                <c:pt idx="2195" formatCode="m/d/yyyy">
                  <c:v>39825</c:v>
                </c:pt>
                <c:pt idx="2196" formatCode="m/d/yyyy">
                  <c:v>39826</c:v>
                </c:pt>
                <c:pt idx="2197" formatCode="m/d/yyyy">
                  <c:v>39827</c:v>
                </c:pt>
                <c:pt idx="2198" formatCode="m/d/yyyy">
                  <c:v>39828</c:v>
                </c:pt>
                <c:pt idx="2199" formatCode="m/d/yyyy">
                  <c:v>39829</c:v>
                </c:pt>
                <c:pt idx="2200" formatCode="m/d/yyyy">
                  <c:v>39832</c:v>
                </c:pt>
                <c:pt idx="2201" formatCode="m/d/yyyy">
                  <c:v>39833</c:v>
                </c:pt>
                <c:pt idx="2202" formatCode="m/d/yyyy">
                  <c:v>39834</c:v>
                </c:pt>
                <c:pt idx="2203" formatCode="m/d/yyyy">
                  <c:v>39835</c:v>
                </c:pt>
                <c:pt idx="2204" formatCode="m/d/yyyy">
                  <c:v>39836</c:v>
                </c:pt>
                <c:pt idx="2205" formatCode="m/d/yyyy">
                  <c:v>39839</c:v>
                </c:pt>
                <c:pt idx="2206" formatCode="m/d/yyyy">
                  <c:v>39840</c:v>
                </c:pt>
                <c:pt idx="2207" formatCode="m/d/yyyy">
                  <c:v>39841</c:v>
                </c:pt>
                <c:pt idx="2208" formatCode="m/d/yyyy">
                  <c:v>39842</c:v>
                </c:pt>
                <c:pt idx="2209" formatCode="m/d/yyyy">
                  <c:v>39843</c:v>
                </c:pt>
                <c:pt idx="2210" formatCode="m/d/yyyy">
                  <c:v>39846</c:v>
                </c:pt>
                <c:pt idx="2211" formatCode="m/d/yyyy">
                  <c:v>39847</c:v>
                </c:pt>
                <c:pt idx="2212" formatCode="m/d/yyyy">
                  <c:v>39848</c:v>
                </c:pt>
                <c:pt idx="2213" formatCode="m/d/yyyy">
                  <c:v>39849</c:v>
                </c:pt>
                <c:pt idx="2214" formatCode="m/d/yyyy">
                  <c:v>39850</c:v>
                </c:pt>
                <c:pt idx="2215" formatCode="m/d/yyyy">
                  <c:v>39853</c:v>
                </c:pt>
                <c:pt idx="2216" formatCode="m/d/yyyy">
                  <c:v>39854</c:v>
                </c:pt>
                <c:pt idx="2217" formatCode="m/d/yyyy">
                  <c:v>39855</c:v>
                </c:pt>
                <c:pt idx="2218" formatCode="m/d/yyyy">
                  <c:v>39856</c:v>
                </c:pt>
                <c:pt idx="2219" formatCode="m/d/yyyy">
                  <c:v>39857</c:v>
                </c:pt>
                <c:pt idx="2220" formatCode="m/d/yyyy">
                  <c:v>39860</c:v>
                </c:pt>
                <c:pt idx="2221" formatCode="m/d/yyyy">
                  <c:v>39861</c:v>
                </c:pt>
                <c:pt idx="2222" formatCode="m/d/yyyy">
                  <c:v>39862</c:v>
                </c:pt>
                <c:pt idx="2223" formatCode="m/d/yyyy">
                  <c:v>39863</c:v>
                </c:pt>
                <c:pt idx="2224" formatCode="m/d/yyyy">
                  <c:v>39864</c:v>
                </c:pt>
                <c:pt idx="2225" formatCode="m/d/yyyy">
                  <c:v>39867</c:v>
                </c:pt>
                <c:pt idx="2226" formatCode="m/d/yyyy">
                  <c:v>39868</c:v>
                </c:pt>
                <c:pt idx="2227" formatCode="m/d/yyyy">
                  <c:v>39869</c:v>
                </c:pt>
                <c:pt idx="2228" formatCode="m/d/yyyy">
                  <c:v>39870</c:v>
                </c:pt>
                <c:pt idx="2229" formatCode="m/d/yyyy">
                  <c:v>39871</c:v>
                </c:pt>
                <c:pt idx="2230" formatCode="m/d/yyyy">
                  <c:v>39874</c:v>
                </c:pt>
                <c:pt idx="2231" formatCode="m/d/yyyy">
                  <c:v>39875</c:v>
                </c:pt>
                <c:pt idx="2232" formatCode="m/d/yyyy">
                  <c:v>39876</c:v>
                </c:pt>
                <c:pt idx="2233" formatCode="m/d/yyyy">
                  <c:v>39877</c:v>
                </c:pt>
                <c:pt idx="2234" formatCode="m/d/yyyy">
                  <c:v>39878</c:v>
                </c:pt>
                <c:pt idx="2235" formatCode="m/d/yyyy">
                  <c:v>39881</c:v>
                </c:pt>
                <c:pt idx="2236" formatCode="m/d/yyyy">
                  <c:v>39882</c:v>
                </c:pt>
                <c:pt idx="2237" formatCode="m/d/yyyy">
                  <c:v>39883</c:v>
                </c:pt>
                <c:pt idx="2238" formatCode="m/d/yyyy">
                  <c:v>39884</c:v>
                </c:pt>
                <c:pt idx="2239" formatCode="m/d/yyyy">
                  <c:v>39885</c:v>
                </c:pt>
                <c:pt idx="2240" formatCode="m/d/yyyy">
                  <c:v>39888</c:v>
                </c:pt>
                <c:pt idx="2241" formatCode="m/d/yyyy">
                  <c:v>39889</c:v>
                </c:pt>
                <c:pt idx="2242" formatCode="m/d/yyyy">
                  <c:v>39890</c:v>
                </c:pt>
                <c:pt idx="2243" formatCode="m/d/yyyy">
                  <c:v>39891</c:v>
                </c:pt>
                <c:pt idx="2244" formatCode="m/d/yyyy">
                  <c:v>39892</c:v>
                </c:pt>
                <c:pt idx="2245" formatCode="m/d/yyyy">
                  <c:v>39895</c:v>
                </c:pt>
                <c:pt idx="2246" formatCode="m/d/yyyy">
                  <c:v>39896</c:v>
                </c:pt>
                <c:pt idx="2247" formatCode="m/d/yyyy">
                  <c:v>39897</c:v>
                </c:pt>
                <c:pt idx="2248" formatCode="m/d/yyyy">
                  <c:v>39898</c:v>
                </c:pt>
                <c:pt idx="2249" formatCode="m/d/yyyy">
                  <c:v>39899</c:v>
                </c:pt>
                <c:pt idx="2250" formatCode="m/d/yyyy">
                  <c:v>39900</c:v>
                </c:pt>
                <c:pt idx="2251" formatCode="m/d/yyyy">
                  <c:v>39902</c:v>
                </c:pt>
                <c:pt idx="2252" formatCode="m/d/yyyy">
                  <c:v>39903</c:v>
                </c:pt>
                <c:pt idx="2253" formatCode="m/d/yyyy">
                  <c:v>39904</c:v>
                </c:pt>
                <c:pt idx="2254" formatCode="m/d/yyyy">
                  <c:v>39905</c:v>
                </c:pt>
                <c:pt idx="2255" formatCode="m/d/yyyy">
                  <c:v>39906</c:v>
                </c:pt>
                <c:pt idx="2256" formatCode="m/d/yyyy">
                  <c:v>39909</c:v>
                </c:pt>
                <c:pt idx="2257" formatCode="m/d/yyyy">
                  <c:v>39910</c:v>
                </c:pt>
                <c:pt idx="2258" formatCode="m/d/yyyy">
                  <c:v>39911</c:v>
                </c:pt>
                <c:pt idx="2259" formatCode="m/d/yyyy">
                  <c:v>39912</c:v>
                </c:pt>
                <c:pt idx="2260" formatCode="m/d/yyyy">
                  <c:v>39913</c:v>
                </c:pt>
                <c:pt idx="2261" formatCode="m/d/yyyy">
                  <c:v>39917</c:v>
                </c:pt>
                <c:pt idx="2262" formatCode="m/d/yyyy">
                  <c:v>39918</c:v>
                </c:pt>
                <c:pt idx="2263" formatCode="m/d/yyyy">
                  <c:v>39919</c:v>
                </c:pt>
                <c:pt idx="2264" formatCode="m/d/yyyy">
                  <c:v>39920</c:v>
                </c:pt>
                <c:pt idx="2265" formatCode="m/d/yyyy">
                  <c:v>39923</c:v>
                </c:pt>
                <c:pt idx="2266" formatCode="m/d/yyyy">
                  <c:v>39924</c:v>
                </c:pt>
                <c:pt idx="2267" formatCode="m/d/yyyy">
                  <c:v>39925</c:v>
                </c:pt>
                <c:pt idx="2268" formatCode="m/d/yyyy">
                  <c:v>39926</c:v>
                </c:pt>
                <c:pt idx="2269" formatCode="m/d/yyyy">
                  <c:v>39927</c:v>
                </c:pt>
                <c:pt idx="2270" formatCode="m/d/yyyy">
                  <c:v>39930</c:v>
                </c:pt>
                <c:pt idx="2271" formatCode="m/d/yyyy">
                  <c:v>39931</c:v>
                </c:pt>
                <c:pt idx="2272" formatCode="m/d/yyyy">
                  <c:v>39932</c:v>
                </c:pt>
                <c:pt idx="2273" formatCode="m/d/yyyy">
                  <c:v>39933</c:v>
                </c:pt>
                <c:pt idx="2274" formatCode="m/d/yyyy">
                  <c:v>39937</c:v>
                </c:pt>
                <c:pt idx="2275" formatCode="m/d/yyyy">
                  <c:v>39938</c:v>
                </c:pt>
                <c:pt idx="2276" formatCode="m/d/yyyy">
                  <c:v>39939</c:v>
                </c:pt>
                <c:pt idx="2277" formatCode="m/d/yyyy">
                  <c:v>39940</c:v>
                </c:pt>
                <c:pt idx="2278" formatCode="m/d/yyyy">
                  <c:v>39941</c:v>
                </c:pt>
                <c:pt idx="2279" formatCode="m/d/yyyy">
                  <c:v>39944</c:v>
                </c:pt>
                <c:pt idx="2280" formatCode="m/d/yyyy">
                  <c:v>39945</c:v>
                </c:pt>
                <c:pt idx="2281" formatCode="m/d/yyyy">
                  <c:v>39946</c:v>
                </c:pt>
                <c:pt idx="2282" formatCode="m/d/yyyy">
                  <c:v>39947</c:v>
                </c:pt>
                <c:pt idx="2283" formatCode="m/d/yyyy">
                  <c:v>39948</c:v>
                </c:pt>
                <c:pt idx="2284" formatCode="m/d/yyyy">
                  <c:v>39951</c:v>
                </c:pt>
                <c:pt idx="2285" formatCode="m/d/yyyy">
                  <c:v>39952</c:v>
                </c:pt>
                <c:pt idx="2286" formatCode="m/d/yyyy">
                  <c:v>39953</c:v>
                </c:pt>
                <c:pt idx="2287" formatCode="m/d/yyyy">
                  <c:v>39954</c:v>
                </c:pt>
                <c:pt idx="2288" formatCode="m/d/yyyy">
                  <c:v>39955</c:v>
                </c:pt>
                <c:pt idx="2289" formatCode="m/d/yyyy">
                  <c:v>39958</c:v>
                </c:pt>
                <c:pt idx="2290" formatCode="m/d/yyyy">
                  <c:v>39959</c:v>
                </c:pt>
                <c:pt idx="2291" formatCode="m/d/yyyy">
                  <c:v>39960</c:v>
                </c:pt>
                <c:pt idx="2292" formatCode="m/d/yyyy">
                  <c:v>39961</c:v>
                </c:pt>
                <c:pt idx="2293" formatCode="m/d/yyyy">
                  <c:v>39962</c:v>
                </c:pt>
                <c:pt idx="2294" formatCode="m/d/yyyy">
                  <c:v>39966</c:v>
                </c:pt>
                <c:pt idx="2295" formatCode="m/d/yyyy">
                  <c:v>39967</c:v>
                </c:pt>
                <c:pt idx="2296" formatCode="m/d/yyyy">
                  <c:v>39968</c:v>
                </c:pt>
                <c:pt idx="2297" formatCode="m/d/yyyy">
                  <c:v>39969</c:v>
                </c:pt>
                <c:pt idx="2298" formatCode="m/d/yyyy">
                  <c:v>39972</c:v>
                </c:pt>
                <c:pt idx="2299" formatCode="m/d/yyyy">
                  <c:v>39973</c:v>
                </c:pt>
                <c:pt idx="2300" formatCode="m/d/yyyy">
                  <c:v>39974</c:v>
                </c:pt>
                <c:pt idx="2301" formatCode="m/d/yyyy">
                  <c:v>39975</c:v>
                </c:pt>
                <c:pt idx="2302" formatCode="m/d/yyyy">
                  <c:v>39976</c:v>
                </c:pt>
                <c:pt idx="2303" formatCode="m/d/yyyy">
                  <c:v>39979</c:v>
                </c:pt>
                <c:pt idx="2304" formatCode="m/d/yyyy">
                  <c:v>39980</c:v>
                </c:pt>
                <c:pt idx="2305" formatCode="m/d/yyyy">
                  <c:v>39981</c:v>
                </c:pt>
                <c:pt idx="2306" formatCode="m/d/yyyy">
                  <c:v>39982</c:v>
                </c:pt>
                <c:pt idx="2307" formatCode="m/d/yyyy">
                  <c:v>39983</c:v>
                </c:pt>
                <c:pt idx="2308" formatCode="m/d/yyyy">
                  <c:v>39986</c:v>
                </c:pt>
                <c:pt idx="2309" formatCode="m/d/yyyy">
                  <c:v>39987</c:v>
                </c:pt>
                <c:pt idx="2310" formatCode="m/d/yyyy">
                  <c:v>39988</c:v>
                </c:pt>
                <c:pt idx="2311" formatCode="m/d/yyyy">
                  <c:v>39989</c:v>
                </c:pt>
                <c:pt idx="2312" formatCode="m/d/yyyy">
                  <c:v>39990</c:v>
                </c:pt>
                <c:pt idx="2313" formatCode="m/d/yyyy">
                  <c:v>39993</c:v>
                </c:pt>
                <c:pt idx="2314" formatCode="m/d/yyyy">
                  <c:v>39994</c:v>
                </c:pt>
                <c:pt idx="2315" formatCode="m/d/yyyy">
                  <c:v>39995</c:v>
                </c:pt>
                <c:pt idx="2316" formatCode="m/d/yyyy">
                  <c:v>39996</c:v>
                </c:pt>
                <c:pt idx="2317" formatCode="m/d/yyyy">
                  <c:v>39997</c:v>
                </c:pt>
                <c:pt idx="2318" formatCode="m/d/yyyy">
                  <c:v>40000</c:v>
                </c:pt>
                <c:pt idx="2319" formatCode="m/d/yyyy">
                  <c:v>40001</c:v>
                </c:pt>
                <c:pt idx="2320" formatCode="m/d/yyyy">
                  <c:v>40002</c:v>
                </c:pt>
                <c:pt idx="2321" formatCode="m/d/yyyy">
                  <c:v>40003</c:v>
                </c:pt>
                <c:pt idx="2322" formatCode="m/d/yyyy">
                  <c:v>40004</c:v>
                </c:pt>
                <c:pt idx="2323" formatCode="m/d/yyyy">
                  <c:v>40007</c:v>
                </c:pt>
                <c:pt idx="2324" formatCode="m/d/yyyy">
                  <c:v>40008</c:v>
                </c:pt>
                <c:pt idx="2325" formatCode="m/d/yyyy">
                  <c:v>40009</c:v>
                </c:pt>
                <c:pt idx="2326" formatCode="m/d/yyyy">
                  <c:v>40010</c:v>
                </c:pt>
                <c:pt idx="2327" formatCode="m/d/yyyy">
                  <c:v>40011</c:v>
                </c:pt>
                <c:pt idx="2328" formatCode="m/d/yyyy">
                  <c:v>40014</c:v>
                </c:pt>
                <c:pt idx="2329" formatCode="m/d/yyyy">
                  <c:v>40015</c:v>
                </c:pt>
                <c:pt idx="2330" formatCode="m/d/yyyy">
                  <c:v>40016</c:v>
                </c:pt>
                <c:pt idx="2331" formatCode="m/d/yyyy">
                  <c:v>40017</c:v>
                </c:pt>
                <c:pt idx="2332" formatCode="m/d/yyyy">
                  <c:v>40018</c:v>
                </c:pt>
                <c:pt idx="2333" formatCode="m/d/yyyy">
                  <c:v>40021</c:v>
                </c:pt>
                <c:pt idx="2334" formatCode="m/d/yyyy">
                  <c:v>40022</c:v>
                </c:pt>
                <c:pt idx="2335" formatCode="m/d/yyyy">
                  <c:v>40023</c:v>
                </c:pt>
                <c:pt idx="2336" formatCode="m/d/yyyy">
                  <c:v>40024</c:v>
                </c:pt>
                <c:pt idx="2337" formatCode="m/d/yyyy">
                  <c:v>40025</c:v>
                </c:pt>
                <c:pt idx="2338" formatCode="m/d/yyyy">
                  <c:v>40028</c:v>
                </c:pt>
                <c:pt idx="2339" formatCode="m/d/yyyy">
                  <c:v>40029</c:v>
                </c:pt>
                <c:pt idx="2340" formatCode="m/d/yyyy">
                  <c:v>40030</c:v>
                </c:pt>
                <c:pt idx="2341" formatCode="m/d/yyyy">
                  <c:v>40031</c:v>
                </c:pt>
                <c:pt idx="2342" formatCode="m/d/yyyy">
                  <c:v>40032</c:v>
                </c:pt>
                <c:pt idx="2343" formatCode="m/d/yyyy">
                  <c:v>40035</c:v>
                </c:pt>
                <c:pt idx="2344" formatCode="m/d/yyyy">
                  <c:v>40036</c:v>
                </c:pt>
                <c:pt idx="2345" formatCode="m/d/yyyy">
                  <c:v>40037</c:v>
                </c:pt>
                <c:pt idx="2346" formatCode="m/d/yyyy">
                  <c:v>40038</c:v>
                </c:pt>
                <c:pt idx="2347" formatCode="m/d/yyyy">
                  <c:v>40039</c:v>
                </c:pt>
                <c:pt idx="2348" formatCode="m/d/yyyy">
                  <c:v>40042</c:v>
                </c:pt>
                <c:pt idx="2349" formatCode="m/d/yyyy">
                  <c:v>40043</c:v>
                </c:pt>
                <c:pt idx="2350" formatCode="m/d/yyyy">
                  <c:v>40044</c:v>
                </c:pt>
                <c:pt idx="2351" formatCode="m/d/yyyy">
                  <c:v>40049</c:v>
                </c:pt>
                <c:pt idx="2352" formatCode="m/d/yyyy">
                  <c:v>40050</c:v>
                </c:pt>
                <c:pt idx="2353" formatCode="m/d/yyyy">
                  <c:v>40051</c:v>
                </c:pt>
                <c:pt idx="2354" formatCode="m/d/yyyy">
                  <c:v>40052</c:v>
                </c:pt>
                <c:pt idx="2355" formatCode="m/d/yyyy">
                  <c:v>40053</c:v>
                </c:pt>
                <c:pt idx="2356" formatCode="m/d/yyyy">
                  <c:v>40054</c:v>
                </c:pt>
                <c:pt idx="2357" formatCode="m/d/yyyy">
                  <c:v>40056</c:v>
                </c:pt>
                <c:pt idx="2358" formatCode="m/d/yyyy">
                  <c:v>40057</c:v>
                </c:pt>
                <c:pt idx="2359" formatCode="m/d/yyyy">
                  <c:v>40058</c:v>
                </c:pt>
                <c:pt idx="2360" formatCode="m/d/yyyy">
                  <c:v>40059</c:v>
                </c:pt>
                <c:pt idx="2361" formatCode="m/d/yyyy">
                  <c:v>40060</c:v>
                </c:pt>
                <c:pt idx="2362" formatCode="m/d/yyyy">
                  <c:v>40063</c:v>
                </c:pt>
                <c:pt idx="2363" formatCode="m/d/yyyy">
                  <c:v>40064</c:v>
                </c:pt>
                <c:pt idx="2364" formatCode="m/d/yyyy">
                  <c:v>40065</c:v>
                </c:pt>
                <c:pt idx="2365" formatCode="m/d/yyyy">
                  <c:v>40066</c:v>
                </c:pt>
                <c:pt idx="2366" formatCode="m/d/yyyy">
                  <c:v>40067</c:v>
                </c:pt>
                <c:pt idx="2367" formatCode="m/d/yyyy">
                  <c:v>40070</c:v>
                </c:pt>
                <c:pt idx="2368" formatCode="m/d/yyyy">
                  <c:v>40071</c:v>
                </c:pt>
                <c:pt idx="2369" formatCode="m/d/yyyy">
                  <c:v>40072</c:v>
                </c:pt>
                <c:pt idx="2370" formatCode="m/d/yyyy">
                  <c:v>40073</c:v>
                </c:pt>
                <c:pt idx="2371" formatCode="m/d/yyyy">
                  <c:v>40074</c:v>
                </c:pt>
                <c:pt idx="2372" formatCode="m/d/yyyy">
                  <c:v>40077</c:v>
                </c:pt>
                <c:pt idx="2373" formatCode="m/d/yyyy">
                  <c:v>40078</c:v>
                </c:pt>
                <c:pt idx="2374" formatCode="m/d/yyyy">
                  <c:v>40079</c:v>
                </c:pt>
                <c:pt idx="2375" formatCode="m/d/yyyy">
                  <c:v>40080</c:v>
                </c:pt>
                <c:pt idx="2376" formatCode="m/d/yyyy">
                  <c:v>40081</c:v>
                </c:pt>
                <c:pt idx="2377" formatCode="m/d/yyyy">
                  <c:v>40084</c:v>
                </c:pt>
                <c:pt idx="2378" formatCode="m/d/yyyy">
                  <c:v>40085</c:v>
                </c:pt>
                <c:pt idx="2379" formatCode="m/d/yyyy">
                  <c:v>40086</c:v>
                </c:pt>
                <c:pt idx="2380" formatCode="m/d/yyyy">
                  <c:v>40087</c:v>
                </c:pt>
                <c:pt idx="2381" formatCode="m/d/yyyy">
                  <c:v>40088</c:v>
                </c:pt>
                <c:pt idx="2382" formatCode="m/d/yyyy">
                  <c:v>40091</c:v>
                </c:pt>
                <c:pt idx="2383" formatCode="m/d/yyyy">
                  <c:v>40092</c:v>
                </c:pt>
                <c:pt idx="2384" formatCode="m/d/yyyy">
                  <c:v>40093</c:v>
                </c:pt>
                <c:pt idx="2385" formatCode="m/d/yyyy">
                  <c:v>40094</c:v>
                </c:pt>
                <c:pt idx="2386" formatCode="m/d/yyyy">
                  <c:v>40095</c:v>
                </c:pt>
                <c:pt idx="2387" formatCode="m/d/yyyy">
                  <c:v>40098</c:v>
                </c:pt>
                <c:pt idx="2388" formatCode="m/d/yyyy">
                  <c:v>40099</c:v>
                </c:pt>
                <c:pt idx="2389" formatCode="m/d/yyyy">
                  <c:v>40100</c:v>
                </c:pt>
                <c:pt idx="2390" formatCode="m/d/yyyy">
                  <c:v>40101</c:v>
                </c:pt>
                <c:pt idx="2391" formatCode="m/d/yyyy">
                  <c:v>40102</c:v>
                </c:pt>
                <c:pt idx="2392" formatCode="m/d/yyyy">
                  <c:v>40105</c:v>
                </c:pt>
                <c:pt idx="2393" formatCode="m/d/yyyy">
                  <c:v>40106</c:v>
                </c:pt>
                <c:pt idx="2394" formatCode="m/d/yyyy">
                  <c:v>40107</c:v>
                </c:pt>
                <c:pt idx="2395" formatCode="m/d/yyyy">
                  <c:v>40108</c:v>
                </c:pt>
                <c:pt idx="2396" formatCode="m/d/yyyy">
                  <c:v>40112</c:v>
                </c:pt>
                <c:pt idx="2397" formatCode="m/d/yyyy">
                  <c:v>40113</c:v>
                </c:pt>
                <c:pt idx="2398" formatCode="m/d/yyyy">
                  <c:v>40114</c:v>
                </c:pt>
                <c:pt idx="2399" formatCode="m/d/yyyy">
                  <c:v>40115</c:v>
                </c:pt>
                <c:pt idx="2400" formatCode="m/d/yyyy">
                  <c:v>40116</c:v>
                </c:pt>
                <c:pt idx="2401" formatCode="m/d/yyyy">
                  <c:v>40119</c:v>
                </c:pt>
                <c:pt idx="2402" formatCode="m/d/yyyy">
                  <c:v>40120</c:v>
                </c:pt>
                <c:pt idx="2403" formatCode="m/d/yyyy">
                  <c:v>40121</c:v>
                </c:pt>
                <c:pt idx="2404" formatCode="m/d/yyyy">
                  <c:v>40122</c:v>
                </c:pt>
                <c:pt idx="2405" formatCode="m/d/yyyy">
                  <c:v>40123</c:v>
                </c:pt>
                <c:pt idx="2406" formatCode="m/d/yyyy">
                  <c:v>40126</c:v>
                </c:pt>
                <c:pt idx="2407" formatCode="m/d/yyyy">
                  <c:v>40127</c:v>
                </c:pt>
                <c:pt idx="2408" formatCode="m/d/yyyy">
                  <c:v>40128</c:v>
                </c:pt>
                <c:pt idx="2409" formatCode="m/d/yyyy">
                  <c:v>40129</c:v>
                </c:pt>
                <c:pt idx="2410" formatCode="m/d/yyyy">
                  <c:v>40130</c:v>
                </c:pt>
                <c:pt idx="2411" formatCode="m/d/yyyy">
                  <c:v>40133</c:v>
                </c:pt>
                <c:pt idx="2412" formatCode="m/d/yyyy">
                  <c:v>40134</c:v>
                </c:pt>
                <c:pt idx="2413" formatCode="m/d/yyyy">
                  <c:v>40135</c:v>
                </c:pt>
                <c:pt idx="2414" formatCode="m/d/yyyy">
                  <c:v>40136</c:v>
                </c:pt>
                <c:pt idx="2415" formatCode="m/d/yyyy">
                  <c:v>40137</c:v>
                </c:pt>
                <c:pt idx="2416" formatCode="m/d/yyyy">
                  <c:v>40140</c:v>
                </c:pt>
                <c:pt idx="2417" formatCode="m/d/yyyy">
                  <c:v>40141</c:v>
                </c:pt>
                <c:pt idx="2418" formatCode="m/d/yyyy">
                  <c:v>40142</c:v>
                </c:pt>
                <c:pt idx="2419" formatCode="m/d/yyyy">
                  <c:v>40143</c:v>
                </c:pt>
                <c:pt idx="2420" formatCode="m/d/yyyy">
                  <c:v>40144</c:v>
                </c:pt>
                <c:pt idx="2421" formatCode="m/d/yyyy">
                  <c:v>40147</c:v>
                </c:pt>
                <c:pt idx="2422" formatCode="m/d/yyyy">
                  <c:v>40148</c:v>
                </c:pt>
                <c:pt idx="2423" formatCode="m/d/yyyy">
                  <c:v>40149</c:v>
                </c:pt>
                <c:pt idx="2424" formatCode="m/d/yyyy">
                  <c:v>40150</c:v>
                </c:pt>
                <c:pt idx="2425" formatCode="m/d/yyyy">
                  <c:v>40151</c:v>
                </c:pt>
                <c:pt idx="2426" formatCode="m/d/yyyy">
                  <c:v>40154</c:v>
                </c:pt>
                <c:pt idx="2427" formatCode="m/d/yyyy">
                  <c:v>40155</c:v>
                </c:pt>
                <c:pt idx="2428" formatCode="m/d/yyyy">
                  <c:v>40156</c:v>
                </c:pt>
                <c:pt idx="2429" formatCode="m/d/yyyy">
                  <c:v>40157</c:v>
                </c:pt>
                <c:pt idx="2430" formatCode="m/d/yyyy">
                  <c:v>40158</c:v>
                </c:pt>
                <c:pt idx="2431" formatCode="m/d/yyyy">
                  <c:v>40161</c:v>
                </c:pt>
                <c:pt idx="2432" formatCode="m/d/yyyy">
                  <c:v>40162</c:v>
                </c:pt>
                <c:pt idx="2433" formatCode="m/d/yyyy">
                  <c:v>40163</c:v>
                </c:pt>
                <c:pt idx="2434" formatCode="m/d/yyyy">
                  <c:v>40164</c:v>
                </c:pt>
                <c:pt idx="2435" formatCode="m/d/yyyy">
                  <c:v>40165</c:v>
                </c:pt>
                <c:pt idx="2436" formatCode="m/d/yyyy">
                  <c:v>40166</c:v>
                </c:pt>
                <c:pt idx="2437" formatCode="m/d/yyyy">
                  <c:v>40168</c:v>
                </c:pt>
                <c:pt idx="2438" formatCode="m/d/yyyy">
                  <c:v>40169</c:v>
                </c:pt>
                <c:pt idx="2439" formatCode="m/d/yyyy">
                  <c:v>40170</c:v>
                </c:pt>
                <c:pt idx="2440" formatCode="m/d/yyyy">
                  <c:v>40175</c:v>
                </c:pt>
                <c:pt idx="2441" formatCode="m/d/yyyy">
                  <c:v>40176</c:v>
                </c:pt>
                <c:pt idx="2442" formatCode="m/d/yyyy">
                  <c:v>40177</c:v>
                </c:pt>
                <c:pt idx="2443" formatCode="m/d/yyyy">
                  <c:v>40182</c:v>
                </c:pt>
                <c:pt idx="2444" formatCode="m/d/yyyy">
                  <c:v>40183</c:v>
                </c:pt>
                <c:pt idx="2445" formatCode="m/d/yyyy">
                  <c:v>40184</c:v>
                </c:pt>
                <c:pt idx="2446" formatCode="m/d/yyyy">
                  <c:v>40185</c:v>
                </c:pt>
                <c:pt idx="2447" formatCode="m/d/yyyy">
                  <c:v>40186</c:v>
                </c:pt>
                <c:pt idx="2448" formatCode="m/d/yyyy">
                  <c:v>40189</c:v>
                </c:pt>
                <c:pt idx="2449" formatCode="m/d/yyyy">
                  <c:v>40190</c:v>
                </c:pt>
                <c:pt idx="2450" formatCode="m/d/yyyy">
                  <c:v>40191</c:v>
                </c:pt>
                <c:pt idx="2451" formatCode="m/d/yyyy">
                  <c:v>40192</c:v>
                </c:pt>
                <c:pt idx="2452" formatCode="m/d/yyyy">
                  <c:v>40193</c:v>
                </c:pt>
                <c:pt idx="2453" formatCode="m/d/yyyy">
                  <c:v>40196</c:v>
                </c:pt>
                <c:pt idx="2454" formatCode="m/d/yyyy">
                  <c:v>40197</c:v>
                </c:pt>
                <c:pt idx="2455" formatCode="m/d/yyyy">
                  <c:v>40198</c:v>
                </c:pt>
                <c:pt idx="2456" formatCode="m/d/yyyy">
                  <c:v>40199</c:v>
                </c:pt>
                <c:pt idx="2457" formatCode="m/d/yyyy">
                  <c:v>40200</c:v>
                </c:pt>
                <c:pt idx="2458" formatCode="m/d/yyyy">
                  <c:v>40203</c:v>
                </c:pt>
                <c:pt idx="2459" formatCode="m/d/yyyy">
                  <c:v>40204</c:v>
                </c:pt>
                <c:pt idx="2460" formatCode="m/d/yyyy">
                  <c:v>40205</c:v>
                </c:pt>
                <c:pt idx="2461" formatCode="m/d/yyyy">
                  <c:v>40206</c:v>
                </c:pt>
                <c:pt idx="2462" formatCode="m/d/yyyy">
                  <c:v>40207</c:v>
                </c:pt>
                <c:pt idx="2463" formatCode="m/d/yyyy">
                  <c:v>40210</c:v>
                </c:pt>
                <c:pt idx="2464" formatCode="m/d/yyyy">
                  <c:v>40211</c:v>
                </c:pt>
                <c:pt idx="2465" formatCode="m/d/yyyy">
                  <c:v>40212</c:v>
                </c:pt>
                <c:pt idx="2466" formatCode="m/d/yyyy">
                  <c:v>40213</c:v>
                </c:pt>
                <c:pt idx="2467" formatCode="m/d/yyyy">
                  <c:v>40214</c:v>
                </c:pt>
                <c:pt idx="2468" formatCode="m/d/yyyy">
                  <c:v>40217</c:v>
                </c:pt>
                <c:pt idx="2469" formatCode="m/d/yyyy">
                  <c:v>40218</c:v>
                </c:pt>
                <c:pt idx="2470" formatCode="m/d/yyyy">
                  <c:v>40219</c:v>
                </c:pt>
                <c:pt idx="2471" formatCode="m/d/yyyy">
                  <c:v>40220</c:v>
                </c:pt>
                <c:pt idx="2472" formatCode="m/d/yyyy">
                  <c:v>40221</c:v>
                </c:pt>
                <c:pt idx="2473" formatCode="m/d/yyyy">
                  <c:v>40224</c:v>
                </c:pt>
                <c:pt idx="2474" formatCode="m/d/yyyy">
                  <c:v>40225</c:v>
                </c:pt>
                <c:pt idx="2475" formatCode="m/d/yyyy">
                  <c:v>40226</c:v>
                </c:pt>
                <c:pt idx="2476" formatCode="m/d/yyyy">
                  <c:v>40227</c:v>
                </c:pt>
                <c:pt idx="2477" formatCode="m/d/yyyy">
                  <c:v>40228</c:v>
                </c:pt>
                <c:pt idx="2478" formatCode="m/d/yyyy">
                  <c:v>40231</c:v>
                </c:pt>
                <c:pt idx="2479" formatCode="m/d/yyyy">
                  <c:v>40232</c:v>
                </c:pt>
                <c:pt idx="2480" formatCode="m/d/yyyy">
                  <c:v>40233</c:v>
                </c:pt>
                <c:pt idx="2481" formatCode="m/d/yyyy">
                  <c:v>40234</c:v>
                </c:pt>
                <c:pt idx="2482" formatCode="m/d/yyyy">
                  <c:v>40235</c:v>
                </c:pt>
                <c:pt idx="2483" formatCode="m/d/yyyy">
                  <c:v>40238</c:v>
                </c:pt>
                <c:pt idx="2484" formatCode="m/d/yyyy">
                  <c:v>40239</c:v>
                </c:pt>
                <c:pt idx="2485" formatCode="m/d/yyyy">
                  <c:v>40240</c:v>
                </c:pt>
                <c:pt idx="2486" formatCode="m/d/yyyy">
                  <c:v>40241</c:v>
                </c:pt>
                <c:pt idx="2487" formatCode="m/d/yyyy">
                  <c:v>40242</c:v>
                </c:pt>
                <c:pt idx="2488" formatCode="m/d/yyyy">
                  <c:v>40245</c:v>
                </c:pt>
                <c:pt idx="2489" formatCode="m/d/yyyy">
                  <c:v>40246</c:v>
                </c:pt>
                <c:pt idx="2490" formatCode="m/d/yyyy">
                  <c:v>40247</c:v>
                </c:pt>
                <c:pt idx="2491" formatCode="m/d/yyyy">
                  <c:v>40248</c:v>
                </c:pt>
                <c:pt idx="2492" formatCode="m/d/yyyy">
                  <c:v>40249</c:v>
                </c:pt>
                <c:pt idx="2493" formatCode="m/d/yyyy">
                  <c:v>40253</c:v>
                </c:pt>
                <c:pt idx="2494" formatCode="m/d/yyyy">
                  <c:v>40254</c:v>
                </c:pt>
                <c:pt idx="2495" formatCode="m/d/yyyy">
                  <c:v>40255</c:v>
                </c:pt>
                <c:pt idx="2496" formatCode="m/d/yyyy">
                  <c:v>40256</c:v>
                </c:pt>
                <c:pt idx="2497" formatCode="m/d/yyyy">
                  <c:v>40259</c:v>
                </c:pt>
                <c:pt idx="2498" formatCode="m/d/yyyy">
                  <c:v>40260</c:v>
                </c:pt>
                <c:pt idx="2499" formatCode="m/d/yyyy">
                  <c:v>40261</c:v>
                </c:pt>
                <c:pt idx="2500" formatCode="m/d/yyyy">
                  <c:v>40262</c:v>
                </c:pt>
                <c:pt idx="2501" formatCode="m/d/yyyy">
                  <c:v>40263</c:v>
                </c:pt>
                <c:pt idx="2502" formatCode="m/d/yyyy">
                  <c:v>40266</c:v>
                </c:pt>
                <c:pt idx="2503" formatCode="m/d/yyyy">
                  <c:v>40267</c:v>
                </c:pt>
                <c:pt idx="2504" formatCode="m/d/yyyy">
                  <c:v>40268</c:v>
                </c:pt>
                <c:pt idx="2505" formatCode="m/d/yyyy">
                  <c:v>40269</c:v>
                </c:pt>
                <c:pt idx="2506" formatCode="m/d/yyyy">
                  <c:v>40270</c:v>
                </c:pt>
                <c:pt idx="2507" formatCode="m/d/yyyy">
                  <c:v>40274</c:v>
                </c:pt>
                <c:pt idx="2508" formatCode="m/d/yyyy">
                  <c:v>40275</c:v>
                </c:pt>
                <c:pt idx="2509" formatCode="m/d/yyyy">
                  <c:v>40276</c:v>
                </c:pt>
                <c:pt idx="2510" formatCode="m/d/yyyy">
                  <c:v>40277</c:v>
                </c:pt>
                <c:pt idx="2511" formatCode="m/d/yyyy">
                  <c:v>40280</c:v>
                </c:pt>
                <c:pt idx="2512" formatCode="m/d/yyyy">
                  <c:v>40281</c:v>
                </c:pt>
                <c:pt idx="2513" formatCode="m/d/yyyy">
                  <c:v>40282</c:v>
                </c:pt>
                <c:pt idx="2514" formatCode="m/d/yyyy">
                  <c:v>40283</c:v>
                </c:pt>
                <c:pt idx="2515" formatCode="m/d/yyyy">
                  <c:v>40284</c:v>
                </c:pt>
                <c:pt idx="2516" formatCode="m/d/yyyy">
                  <c:v>40287</c:v>
                </c:pt>
                <c:pt idx="2517" formatCode="m/d/yyyy">
                  <c:v>40288</c:v>
                </c:pt>
                <c:pt idx="2518" formatCode="m/d/yyyy">
                  <c:v>40289</c:v>
                </c:pt>
                <c:pt idx="2519" formatCode="m/d/yyyy">
                  <c:v>40290</c:v>
                </c:pt>
                <c:pt idx="2520" formatCode="m/d/yyyy">
                  <c:v>40291</c:v>
                </c:pt>
                <c:pt idx="2521" formatCode="m/d/yyyy">
                  <c:v>40294</c:v>
                </c:pt>
                <c:pt idx="2522" formatCode="m/d/yyyy">
                  <c:v>40295</c:v>
                </c:pt>
                <c:pt idx="2523" formatCode="m/d/yyyy">
                  <c:v>40296</c:v>
                </c:pt>
                <c:pt idx="2524" formatCode="m/d/yyyy">
                  <c:v>40297</c:v>
                </c:pt>
                <c:pt idx="2525" formatCode="m/d/yyyy">
                  <c:v>40298</c:v>
                </c:pt>
                <c:pt idx="2526" formatCode="m/d/yyyy">
                  <c:v>40301</c:v>
                </c:pt>
                <c:pt idx="2527" formatCode="m/d/yyyy">
                  <c:v>40302</c:v>
                </c:pt>
                <c:pt idx="2528" formatCode="m/d/yyyy">
                  <c:v>40303</c:v>
                </c:pt>
                <c:pt idx="2529" formatCode="m/d/yyyy">
                  <c:v>40304</c:v>
                </c:pt>
                <c:pt idx="2530" formatCode="m/d/yyyy">
                  <c:v>40305</c:v>
                </c:pt>
                <c:pt idx="2531" formatCode="m/d/yyyy">
                  <c:v>40308</c:v>
                </c:pt>
                <c:pt idx="2532" formatCode="m/d/yyyy">
                  <c:v>40309</c:v>
                </c:pt>
                <c:pt idx="2533" formatCode="m/d/yyyy">
                  <c:v>40310</c:v>
                </c:pt>
                <c:pt idx="2534" formatCode="m/d/yyyy">
                  <c:v>40311</c:v>
                </c:pt>
                <c:pt idx="2535" formatCode="m/d/yyyy">
                  <c:v>40312</c:v>
                </c:pt>
                <c:pt idx="2536" formatCode="m/d/yyyy">
                  <c:v>40315</c:v>
                </c:pt>
                <c:pt idx="2537" formatCode="m/d/yyyy">
                  <c:v>40316</c:v>
                </c:pt>
                <c:pt idx="2538" formatCode="m/d/yyyy">
                  <c:v>40317</c:v>
                </c:pt>
                <c:pt idx="2539" formatCode="m/d/yyyy">
                  <c:v>40318</c:v>
                </c:pt>
                <c:pt idx="2540" formatCode="m/d/yyyy">
                  <c:v>40319</c:v>
                </c:pt>
                <c:pt idx="2541" formatCode="m/d/yyyy">
                  <c:v>40323</c:v>
                </c:pt>
                <c:pt idx="2542" formatCode="m/d/yyyy">
                  <c:v>40324</c:v>
                </c:pt>
                <c:pt idx="2543" formatCode="m/d/yyyy">
                  <c:v>40325</c:v>
                </c:pt>
                <c:pt idx="2544" formatCode="m/d/yyyy">
                  <c:v>40326</c:v>
                </c:pt>
                <c:pt idx="2545" formatCode="m/d/yyyy">
                  <c:v>40329</c:v>
                </c:pt>
                <c:pt idx="2546" formatCode="m/d/yyyy">
                  <c:v>40330</c:v>
                </c:pt>
                <c:pt idx="2547" formatCode="m/d/yyyy">
                  <c:v>40331</c:v>
                </c:pt>
                <c:pt idx="2548" formatCode="m/d/yyyy">
                  <c:v>40332</c:v>
                </c:pt>
                <c:pt idx="2549" formatCode="m/d/yyyy">
                  <c:v>40333</c:v>
                </c:pt>
                <c:pt idx="2550" formatCode="m/d/yyyy">
                  <c:v>40336</c:v>
                </c:pt>
                <c:pt idx="2551" formatCode="m/d/yyyy">
                  <c:v>40337</c:v>
                </c:pt>
                <c:pt idx="2552" formatCode="m/d/yyyy">
                  <c:v>40338</c:v>
                </c:pt>
                <c:pt idx="2553" formatCode="m/d/yyyy">
                  <c:v>40339</c:v>
                </c:pt>
                <c:pt idx="2554" formatCode="m/d/yyyy">
                  <c:v>40340</c:v>
                </c:pt>
                <c:pt idx="2555" formatCode="m/d/yyyy">
                  <c:v>40343</c:v>
                </c:pt>
                <c:pt idx="2556" formatCode="m/d/yyyy">
                  <c:v>40344</c:v>
                </c:pt>
                <c:pt idx="2557" formatCode="m/d/yyyy">
                  <c:v>40345</c:v>
                </c:pt>
                <c:pt idx="2558" formatCode="m/d/yyyy">
                  <c:v>40346</c:v>
                </c:pt>
                <c:pt idx="2559" formatCode="m/d/yyyy">
                  <c:v>40347</c:v>
                </c:pt>
                <c:pt idx="2560" formatCode="m/d/yyyy">
                  <c:v>40350</c:v>
                </c:pt>
                <c:pt idx="2561" formatCode="m/d/yyyy">
                  <c:v>40351</c:v>
                </c:pt>
                <c:pt idx="2562" formatCode="m/d/yyyy">
                  <c:v>40352</c:v>
                </c:pt>
                <c:pt idx="2563" formatCode="m/d/yyyy">
                  <c:v>40353</c:v>
                </c:pt>
                <c:pt idx="2564" formatCode="m/d/yyyy">
                  <c:v>40354</c:v>
                </c:pt>
                <c:pt idx="2565" formatCode="m/d/yyyy">
                  <c:v>40357</c:v>
                </c:pt>
                <c:pt idx="2566" formatCode="m/d/yyyy">
                  <c:v>40358</c:v>
                </c:pt>
                <c:pt idx="2567" formatCode="m/d/yyyy">
                  <c:v>40359</c:v>
                </c:pt>
                <c:pt idx="2568" formatCode="m/d/yyyy">
                  <c:v>40360</c:v>
                </c:pt>
                <c:pt idx="2569" formatCode="m/d/yyyy">
                  <c:v>40361</c:v>
                </c:pt>
                <c:pt idx="2570" formatCode="m/d/yyyy">
                  <c:v>40364</c:v>
                </c:pt>
                <c:pt idx="2571" formatCode="m/d/yyyy">
                  <c:v>40365</c:v>
                </c:pt>
                <c:pt idx="2572" formatCode="m/d/yyyy">
                  <c:v>40366</c:v>
                </c:pt>
                <c:pt idx="2573" formatCode="m/d/yyyy">
                  <c:v>40367</c:v>
                </c:pt>
                <c:pt idx="2574" formatCode="m/d/yyyy">
                  <c:v>40368</c:v>
                </c:pt>
                <c:pt idx="2575" formatCode="m/d/yyyy">
                  <c:v>40371</c:v>
                </c:pt>
                <c:pt idx="2576" formatCode="m/d/yyyy">
                  <c:v>40372</c:v>
                </c:pt>
                <c:pt idx="2577" formatCode="m/d/yyyy">
                  <c:v>40373</c:v>
                </c:pt>
                <c:pt idx="2578" formatCode="m/d/yyyy">
                  <c:v>40374</c:v>
                </c:pt>
                <c:pt idx="2579" formatCode="m/d/yyyy">
                  <c:v>40375</c:v>
                </c:pt>
                <c:pt idx="2580" formatCode="m/d/yyyy">
                  <c:v>40378</c:v>
                </c:pt>
                <c:pt idx="2581" formatCode="m/d/yyyy">
                  <c:v>40379</c:v>
                </c:pt>
                <c:pt idx="2582" formatCode="m/d/yyyy">
                  <c:v>40380</c:v>
                </c:pt>
                <c:pt idx="2583" formatCode="m/d/yyyy">
                  <c:v>40381</c:v>
                </c:pt>
                <c:pt idx="2584" formatCode="m/d/yyyy">
                  <c:v>40382</c:v>
                </c:pt>
                <c:pt idx="2585" formatCode="m/d/yyyy">
                  <c:v>40385</c:v>
                </c:pt>
                <c:pt idx="2586" formatCode="m/d/yyyy">
                  <c:v>40386</c:v>
                </c:pt>
                <c:pt idx="2587" formatCode="m/d/yyyy">
                  <c:v>40387</c:v>
                </c:pt>
                <c:pt idx="2588" formatCode="m/d/yyyy">
                  <c:v>40388</c:v>
                </c:pt>
                <c:pt idx="2589" formatCode="m/d/yyyy">
                  <c:v>40389</c:v>
                </c:pt>
                <c:pt idx="2590" formatCode="m/d/yyyy">
                  <c:v>40392</c:v>
                </c:pt>
                <c:pt idx="2591" formatCode="m/d/yyyy">
                  <c:v>40393</c:v>
                </c:pt>
                <c:pt idx="2592" formatCode="m/d/yyyy">
                  <c:v>40394</c:v>
                </c:pt>
                <c:pt idx="2593" formatCode="m/d/yyyy">
                  <c:v>40395</c:v>
                </c:pt>
                <c:pt idx="2594" formatCode="m/d/yyyy">
                  <c:v>40396</c:v>
                </c:pt>
                <c:pt idx="2595" formatCode="m/d/yyyy">
                  <c:v>40399</c:v>
                </c:pt>
                <c:pt idx="2596" formatCode="m/d/yyyy">
                  <c:v>40400</c:v>
                </c:pt>
                <c:pt idx="2597" formatCode="m/d/yyyy">
                  <c:v>40401</c:v>
                </c:pt>
                <c:pt idx="2598" formatCode="m/d/yyyy">
                  <c:v>40402</c:v>
                </c:pt>
                <c:pt idx="2599" formatCode="m/d/yyyy">
                  <c:v>40403</c:v>
                </c:pt>
                <c:pt idx="2600" formatCode="m/d/yyyy">
                  <c:v>40406</c:v>
                </c:pt>
                <c:pt idx="2601" formatCode="m/d/yyyy">
                  <c:v>40407</c:v>
                </c:pt>
                <c:pt idx="2602" formatCode="m/d/yyyy">
                  <c:v>40408</c:v>
                </c:pt>
                <c:pt idx="2603" formatCode="m/d/yyyy">
                  <c:v>40409</c:v>
                </c:pt>
                <c:pt idx="2604" formatCode="m/d/yyyy">
                  <c:v>40413</c:v>
                </c:pt>
                <c:pt idx="2605" formatCode="m/d/yyyy">
                  <c:v>40414</c:v>
                </c:pt>
                <c:pt idx="2606" formatCode="m/d/yyyy">
                  <c:v>40415</c:v>
                </c:pt>
                <c:pt idx="2607" formatCode="m/d/yyyy">
                  <c:v>40416</c:v>
                </c:pt>
                <c:pt idx="2608" formatCode="m/d/yyyy">
                  <c:v>40417</c:v>
                </c:pt>
                <c:pt idx="2609" formatCode="m/d/yyyy">
                  <c:v>40420</c:v>
                </c:pt>
                <c:pt idx="2610" formatCode="m/d/yyyy">
                  <c:v>40421</c:v>
                </c:pt>
                <c:pt idx="2611" formatCode="m/d/yyyy">
                  <c:v>40422</c:v>
                </c:pt>
                <c:pt idx="2612" formatCode="m/d/yyyy">
                  <c:v>40423</c:v>
                </c:pt>
                <c:pt idx="2613" formatCode="m/d/yyyy">
                  <c:v>40424</c:v>
                </c:pt>
                <c:pt idx="2614" formatCode="m/d/yyyy">
                  <c:v>40427</c:v>
                </c:pt>
                <c:pt idx="2615" formatCode="m/d/yyyy">
                  <c:v>40428</c:v>
                </c:pt>
                <c:pt idx="2616" formatCode="m/d/yyyy">
                  <c:v>40429</c:v>
                </c:pt>
                <c:pt idx="2617" formatCode="m/d/yyyy">
                  <c:v>40430</c:v>
                </c:pt>
                <c:pt idx="2618" formatCode="m/d/yyyy">
                  <c:v>40431</c:v>
                </c:pt>
                <c:pt idx="2619" formatCode="m/d/yyyy">
                  <c:v>40434</c:v>
                </c:pt>
                <c:pt idx="2620" formatCode="m/d/yyyy">
                  <c:v>40435</c:v>
                </c:pt>
                <c:pt idx="2621" formatCode="m/d/yyyy">
                  <c:v>40436</c:v>
                </c:pt>
                <c:pt idx="2622" formatCode="m/d/yyyy">
                  <c:v>40437</c:v>
                </c:pt>
                <c:pt idx="2623" formatCode="m/d/yyyy">
                  <c:v>40438</c:v>
                </c:pt>
                <c:pt idx="2624" formatCode="m/d/yyyy">
                  <c:v>40441</c:v>
                </c:pt>
                <c:pt idx="2625" formatCode="m/d/yyyy">
                  <c:v>40442</c:v>
                </c:pt>
                <c:pt idx="2626" formatCode="m/d/yyyy">
                  <c:v>40443</c:v>
                </c:pt>
                <c:pt idx="2627" formatCode="m/d/yyyy">
                  <c:v>40444</c:v>
                </c:pt>
                <c:pt idx="2628" formatCode="m/d/yyyy">
                  <c:v>40445</c:v>
                </c:pt>
                <c:pt idx="2629" formatCode="m/d/yyyy">
                  <c:v>40448</c:v>
                </c:pt>
                <c:pt idx="2630" formatCode="m/d/yyyy">
                  <c:v>40449</c:v>
                </c:pt>
                <c:pt idx="2631" formatCode="m/d/yyyy">
                  <c:v>40450</c:v>
                </c:pt>
                <c:pt idx="2632" formatCode="m/d/yyyy">
                  <c:v>40451</c:v>
                </c:pt>
                <c:pt idx="2633" formatCode="m/d/yyyy">
                  <c:v>40452</c:v>
                </c:pt>
                <c:pt idx="2634" formatCode="m/d/yyyy">
                  <c:v>40455</c:v>
                </c:pt>
                <c:pt idx="2635" formatCode="m/d/yyyy">
                  <c:v>40456</c:v>
                </c:pt>
                <c:pt idx="2636" formatCode="m/d/yyyy">
                  <c:v>40457</c:v>
                </c:pt>
                <c:pt idx="2637" formatCode="m/d/yyyy">
                  <c:v>40458</c:v>
                </c:pt>
                <c:pt idx="2638" formatCode="m/d/yyyy">
                  <c:v>40459</c:v>
                </c:pt>
                <c:pt idx="2639" formatCode="m/d/yyyy">
                  <c:v>40462</c:v>
                </c:pt>
                <c:pt idx="2640" formatCode="m/d/yyyy">
                  <c:v>40463</c:v>
                </c:pt>
                <c:pt idx="2641" formatCode="m/d/yyyy">
                  <c:v>40464</c:v>
                </c:pt>
                <c:pt idx="2642" formatCode="m/d/yyyy">
                  <c:v>40465</c:v>
                </c:pt>
                <c:pt idx="2643" formatCode="m/d/yyyy">
                  <c:v>40466</c:v>
                </c:pt>
                <c:pt idx="2644" formatCode="m/d/yyyy">
                  <c:v>40469</c:v>
                </c:pt>
                <c:pt idx="2645" formatCode="m/d/yyyy">
                  <c:v>40470</c:v>
                </c:pt>
                <c:pt idx="2646" formatCode="m/d/yyyy">
                  <c:v>40471</c:v>
                </c:pt>
                <c:pt idx="2647" formatCode="m/d/yyyy">
                  <c:v>40472</c:v>
                </c:pt>
                <c:pt idx="2648" formatCode="m/d/yyyy">
                  <c:v>40473</c:v>
                </c:pt>
                <c:pt idx="2649" formatCode="m/d/yyyy">
                  <c:v>40476</c:v>
                </c:pt>
                <c:pt idx="2650" formatCode="m/d/yyyy">
                  <c:v>40477</c:v>
                </c:pt>
                <c:pt idx="2651" formatCode="m/d/yyyy">
                  <c:v>40478</c:v>
                </c:pt>
                <c:pt idx="2652" formatCode="m/d/yyyy">
                  <c:v>40479</c:v>
                </c:pt>
                <c:pt idx="2653" formatCode="m/d/yyyy">
                  <c:v>40480</c:v>
                </c:pt>
                <c:pt idx="2654" formatCode="m/d/yyyy">
                  <c:v>40484</c:v>
                </c:pt>
                <c:pt idx="2655" formatCode="m/d/yyyy">
                  <c:v>40485</c:v>
                </c:pt>
                <c:pt idx="2656" formatCode="m/d/yyyy">
                  <c:v>40486</c:v>
                </c:pt>
                <c:pt idx="2657" formatCode="m/d/yyyy">
                  <c:v>40487</c:v>
                </c:pt>
                <c:pt idx="2658" formatCode="m/d/yyyy">
                  <c:v>40490</c:v>
                </c:pt>
                <c:pt idx="2659" formatCode="m/d/yyyy">
                  <c:v>40491</c:v>
                </c:pt>
                <c:pt idx="2660" formatCode="m/d/yyyy">
                  <c:v>40492</c:v>
                </c:pt>
                <c:pt idx="2661" formatCode="m/d/yyyy">
                  <c:v>40493</c:v>
                </c:pt>
                <c:pt idx="2662" formatCode="m/d/yyyy">
                  <c:v>40494</c:v>
                </c:pt>
                <c:pt idx="2663" formatCode="m/d/yyyy">
                  <c:v>40497</c:v>
                </c:pt>
                <c:pt idx="2664" formatCode="m/d/yyyy">
                  <c:v>40498</c:v>
                </c:pt>
                <c:pt idx="2665" formatCode="m/d/yyyy">
                  <c:v>40499</c:v>
                </c:pt>
                <c:pt idx="2666" formatCode="m/d/yyyy">
                  <c:v>40500</c:v>
                </c:pt>
                <c:pt idx="2667" formatCode="m/d/yyyy">
                  <c:v>40501</c:v>
                </c:pt>
                <c:pt idx="2668" formatCode="m/d/yyyy">
                  <c:v>40504</c:v>
                </c:pt>
                <c:pt idx="2669" formatCode="m/d/yyyy">
                  <c:v>40505</c:v>
                </c:pt>
                <c:pt idx="2670" formatCode="m/d/yyyy">
                  <c:v>40506</c:v>
                </c:pt>
                <c:pt idx="2671" formatCode="m/d/yyyy">
                  <c:v>40507</c:v>
                </c:pt>
                <c:pt idx="2672" formatCode="m/d/yyyy">
                  <c:v>40508</c:v>
                </c:pt>
                <c:pt idx="2673" formatCode="m/d/yyyy">
                  <c:v>40511</c:v>
                </c:pt>
                <c:pt idx="2674" formatCode="m/d/yyyy">
                  <c:v>40512</c:v>
                </c:pt>
                <c:pt idx="2675" formatCode="m/d/yyyy">
                  <c:v>40513</c:v>
                </c:pt>
                <c:pt idx="2676" formatCode="m/d/yyyy">
                  <c:v>40514</c:v>
                </c:pt>
                <c:pt idx="2677" formatCode="m/d/yyyy">
                  <c:v>40515</c:v>
                </c:pt>
                <c:pt idx="2678" formatCode="m/d/yyyy">
                  <c:v>40518</c:v>
                </c:pt>
                <c:pt idx="2679" formatCode="m/d/yyyy">
                  <c:v>40519</c:v>
                </c:pt>
                <c:pt idx="2680" formatCode="m/d/yyyy">
                  <c:v>40520</c:v>
                </c:pt>
                <c:pt idx="2681" formatCode="m/d/yyyy">
                  <c:v>40521</c:v>
                </c:pt>
                <c:pt idx="2682" formatCode="m/d/yyyy">
                  <c:v>40522</c:v>
                </c:pt>
                <c:pt idx="2683" formatCode="m/d/yyyy">
                  <c:v>40523</c:v>
                </c:pt>
                <c:pt idx="2684" formatCode="m/d/yyyy">
                  <c:v>40525</c:v>
                </c:pt>
                <c:pt idx="2685" formatCode="m/d/yyyy">
                  <c:v>40526</c:v>
                </c:pt>
                <c:pt idx="2686" formatCode="m/d/yyyy">
                  <c:v>40527</c:v>
                </c:pt>
                <c:pt idx="2687" formatCode="m/d/yyyy">
                  <c:v>40528</c:v>
                </c:pt>
                <c:pt idx="2688" formatCode="m/d/yyyy">
                  <c:v>40529</c:v>
                </c:pt>
                <c:pt idx="2689" formatCode="m/d/yyyy">
                  <c:v>40532</c:v>
                </c:pt>
                <c:pt idx="2690" formatCode="m/d/yyyy">
                  <c:v>40533</c:v>
                </c:pt>
                <c:pt idx="2691" formatCode="m/d/yyyy">
                  <c:v>40534</c:v>
                </c:pt>
                <c:pt idx="2692" formatCode="m/d/yyyy">
                  <c:v>40535</c:v>
                </c:pt>
                <c:pt idx="2693" formatCode="m/d/yyyy">
                  <c:v>40539</c:v>
                </c:pt>
                <c:pt idx="2694" formatCode="m/d/yyyy">
                  <c:v>40540</c:v>
                </c:pt>
                <c:pt idx="2695" formatCode="m/d/yyyy">
                  <c:v>40541</c:v>
                </c:pt>
                <c:pt idx="2696" formatCode="m/d/yyyy">
                  <c:v>40542</c:v>
                </c:pt>
                <c:pt idx="2697" formatCode="m/d/yyyy">
                  <c:v>40543</c:v>
                </c:pt>
                <c:pt idx="2698" formatCode="m/d/yyyy">
                  <c:v>40546</c:v>
                </c:pt>
                <c:pt idx="2699" formatCode="m/d/yyyy">
                  <c:v>40547</c:v>
                </c:pt>
                <c:pt idx="2700" formatCode="m/d/yyyy">
                  <c:v>40548</c:v>
                </c:pt>
                <c:pt idx="2701" formatCode="m/d/yyyy">
                  <c:v>40549</c:v>
                </c:pt>
                <c:pt idx="2702" formatCode="m/d/yyyy">
                  <c:v>40550</c:v>
                </c:pt>
                <c:pt idx="2703" formatCode="m/d/yyyy">
                  <c:v>40553</c:v>
                </c:pt>
                <c:pt idx="2704" formatCode="m/d/yyyy">
                  <c:v>40554</c:v>
                </c:pt>
                <c:pt idx="2705" formatCode="m/d/yyyy">
                  <c:v>40555</c:v>
                </c:pt>
                <c:pt idx="2706" formatCode="m/d/yyyy">
                  <c:v>40556</c:v>
                </c:pt>
                <c:pt idx="2707" formatCode="m/d/yyyy">
                  <c:v>40557</c:v>
                </c:pt>
                <c:pt idx="2708" formatCode="m/d/yyyy">
                  <c:v>40560</c:v>
                </c:pt>
                <c:pt idx="2709" formatCode="m/d/yyyy">
                  <c:v>40561</c:v>
                </c:pt>
                <c:pt idx="2710" formatCode="m/d/yyyy">
                  <c:v>40562</c:v>
                </c:pt>
                <c:pt idx="2711" formatCode="m/d/yyyy">
                  <c:v>40563</c:v>
                </c:pt>
                <c:pt idx="2712" formatCode="m/d/yyyy">
                  <c:v>40564</c:v>
                </c:pt>
                <c:pt idx="2713" formatCode="m/d/yyyy">
                  <c:v>40567</c:v>
                </c:pt>
                <c:pt idx="2714" formatCode="m/d/yyyy">
                  <c:v>40568</c:v>
                </c:pt>
                <c:pt idx="2715" formatCode="m/d/yyyy">
                  <c:v>40569</c:v>
                </c:pt>
                <c:pt idx="2716" formatCode="m/d/yyyy">
                  <c:v>40570</c:v>
                </c:pt>
                <c:pt idx="2717" formatCode="m/d/yyyy">
                  <c:v>40571</c:v>
                </c:pt>
                <c:pt idx="2718" formatCode="m/d/yyyy">
                  <c:v>40574</c:v>
                </c:pt>
                <c:pt idx="2719" formatCode="m/d/yyyy">
                  <c:v>40575</c:v>
                </c:pt>
                <c:pt idx="2720" formatCode="m/d/yyyy">
                  <c:v>40576</c:v>
                </c:pt>
                <c:pt idx="2721" formatCode="m/d/yyyy">
                  <c:v>40577</c:v>
                </c:pt>
                <c:pt idx="2722" formatCode="m/d/yyyy">
                  <c:v>40578</c:v>
                </c:pt>
                <c:pt idx="2723" formatCode="m/d/yyyy">
                  <c:v>40581</c:v>
                </c:pt>
                <c:pt idx="2724" formatCode="m/d/yyyy">
                  <c:v>40582</c:v>
                </c:pt>
                <c:pt idx="2725" formatCode="m/d/yyyy">
                  <c:v>40583</c:v>
                </c:pt>
                <c:pt idx="2726" formatCode="m/d/yyyy">
                  <c:v>40584</c:v>
                </c:pt>
                <c:pt idx="2727" formatCode="m/d/yyyy">
                  <c:v>40585</c:v>
                </c:pt>
                <c:pt idx="2728" formatCode="m/d/yyyy">
                  <c:v>40588</c:v>
                </c:pt>
                <c:pt idx="2729" formatCode="m/d/yyyy">
                  <c:v>40589</c:v>
                </c:pt>
                <c:pt idx="2730" formatCode="m/d/yyyy">
                  <c:v>40590</c:v>
                </c:pt>
                <c:pt idx="2731" formatCode="m/d/yyyy">
                  <c:v>40591</c:v>
                </c:pt>
                <c:pt idx="2732" formatCode="m/d/yyyy">
                  <c:v>40592</c:v>
                </c:pt>
                <c:pt idx="2733" formatCode="m/d/yyyy">
                  <c:v>40595</c:v>
                </c:pt>
                <c:pt idx="2734" formatCode="m/d/yyyy">
                  <c:v>40596</c:v>
                </c:pt>
                <c:pt idx="2735" formatCode="m/d/yyyy">
                  <c:v>40597</c:v>
                </c:pt>
                <c:pt idx="2736" formatCode="m/d/yyyy">
                  <c:v>40598</c:v>
                </c:pt>
                <c:pt idx="2737" formatCode="m/d/yyyy">
                  <c:v>40599</c:v>
                </c:pt>
                <c:pt idx="2738" formatCode="m/d/yyyy">
                  <c:v>40602</c:v>
                </c:pt>
                <c:pt idx="2739" formatCode="m/d/yyyy">
                  <c:v>40603</c:v>
                </c:pt>
                <c:pt idx="2740" formatCode="m/d/yyyy">
                  <c:v>40604</c:v>
                </c:pt>
                <c:pt idx="2741" formatCode="m/d/yyyy">
                  <c:v>40605</c:v>
                </c:pt>
                <c:pt idx="2742" formatCode="m/d/yyyy">
                  <c:v>40606</c:v>
                </c:pt>
                <c:pt idx="2743" formatCode="m/d/yyyy">
                  <c:v>40609</c:v>
                </c:pt>
                <c:pt idx="2744" formatCode="m/d/yyyy">
                  <c:v>40610</c:v>
                </c:pt>
                <c:pt idx="2745" formatCode="m/d/yyyy">
                  <c:v>40611</c:v>
                </c:pt>
                <c:pt idx="2746" formatCode="m/d/yyyy">
                  <c:v>40612</c:v>
                </c:pt>
                <c:pt idx="2747" formatCode="m/d/yyyy">
                  <c:v>40613</c:v>
                </c:pt>
                <c:pt idx="2748" formatCode="m/d/yyyy">
                  <c:v>40618</c:v>
                </c:pt>
                <c:pt idx="2749" formatCode="m/d/yyyy">
                  <c:v>40619</c:v>
                </c:pt>
                <c:pt idx="2750" formatCode="m/d/yyyy">
                  <c:v>40620</c:v>
                </c:pt>
                <c:pt idx="2751" formatCode="m/d/yyyy">
                  <c:v>40621</c:v>
                </c:pt>
                <c:pt idx="2752" formatCode="m/d/yyyy">
                  <c:v>40623</c:v>
                </c:pt>
                <c:pt idx="2753" formatCode="m/d/yyyy">
                  <c:v>40624</c:v>
                </c:pt>
                <c:pt idx="2754" formatCode="m/d/yyyy">
                  <c:v>40625</c:v>
                </c:pt>
                <c:pt idx="2755" formatCode="m/d/yyyy">
                  <c:v>40626</c:v>
                </c:pt>
                <c:pt idx="2756" formatCode="m/d/yyyy">
                  <c:v>40627</c:v>
                </c:pt>
                <c:pt idx="2757" formatCode="m/d/yyyy">
                  <c:v>40630</c:v>
                </c:pt>
                <c:pt idx="2758" formatCode="m/d/yyyy">
                  <c:v>40631</c:v>
                </c:pt>
                <c:pt idx="2759" formatCode="m/d/yyyy">
                  <c:v>40632</c:v>
                </c:pt>
                <c:pt idx="2760" formatCode="m/d/yyyy">
                  <c:v>40633</c:v>
                </c:pt>
                <c:pt idx="2761" formatCode="m/d/yyyy">
                  <c:v>40634</c:v>
                </c:pt>
                <c:pt idx="2762" formatCode="m/d/yyyy">
                  <c:v>40637</c:v>
                </c:pt>
                <c:pt idx="2763" formatCode="m/d/yyyy">
                  <c:v>40638</c:v>
                </c:pt>
                <c:pt idx="2764" formatCode="m/d/yyyy">
                  <c:v>40639</c:v>
                </c:pt>
                <c:pt idx="2765" formatCode="m/d/yyyy">
                  <c:v>40640</c:v>
                </c:pt>
                <c:pt idx="2766" formatCode="m/d/yyyy">
                  <c:v>40641</c:v>
                </c:pt>
                <c:pt idx="2767" formatCode="m/d/yyyy">
                  <c:v>40644</c:v>
                </c:pt>
                <c:pt idx="2768" formatCode="m/d/yyyy">
                  <c:v>40645</c:v>
                </c:pt>
                <c:pt idx="2769" formatCode="m/d/yyyy">
                  <c:v>40646</c:v>
                </c:pt>
                <c:pt idx="2770" formatCode="m/d/yyyy">
                  <c:v>40647</c:v>
                </c:pt>
                <c:pt idx="2771" formatCode="m/d/yyyy">
                  <c:v>40648</c:v>
                </c:pt>
                <c:pt idx="2772" formatCode="m/d/yyyy">
                  <c:v>40651</c:v>
                </c:pt>
                <c:pt idx="2773" formatCode="m/d/yyyy">
                  <c:v>40652</c:v>
                </c:pt>
                <c:pt idx="2774" formatCode="m/d/yyyy">
                  <c:v>40653</c:v>
                </c:pt>
                <c:pt idx="2775" formatCode="m/d/yyyy">
                  <c:v>40654</c:v>
                </c:pt>
                <c:pt idx="2776" formatCode="m/d/yyyy">
                  <c:v>40655</c:v>
                </c:pt>
                <c:pt idx="2777" formatCode="m/d/yyyy">
                  <c:v>40659</c:v>
                </c:pt>
                <c:pt idx="2778" formatCode="m/d/yyyy">
                  <c:v>40660</c:v>
                </c:pt>
                <c:pt idx="2779" formatCode="m/d/yyyy">
                  <c:v>40661</c:v>
                </c:pt>
                <c:pt idx="2780" formatCode="m/d/yyyy">
                  <c:v>40662</c:v>
                </c:pt>
                <c:pt idx="2781" formatCode="m/d/yyyy">
                  <c:v>40665</c:v>
                </c:pt>
                <c:pt idx="2782" formatCode="m/d/yyyy">
                  <c:v>40666</c:v>
                </c:pt>
                <c:pt idx="2783" formatCode="m/d/yyyy">
                  <c:v>40667</c:v>
                </c:pt>
                <c:pt idx="2784" formatCode="m/d/yyyy">
                  <c:v>40668</c:v>
                </c:pt>
                <c:pt idx="2785" formatCode="m/d/yyyy">
                  <c:v>40669</c:v>
                </c:pt>
                <c:pt idx="2786" formatCode="m/d/yyyy">
                  <c:v>40672</c:v>
                </c:pt>
                <c:pt idx="2787" formatCode="m/d/yyyy">
                  <c:v>40673</c:v>
                </c:pt>
                <c:pt idx="2788" formatCode="m/d/yyyy">
                  <c:v>40674</c:v>
                </c:pt>
                <c:pt idx="2789" formatCode="m/d/yyyy">
                  <c:v>40675</c:v>
                </c:pt>
                <c:pt idx="2790" formatCode="m/d/yyyy">
                  <c:v>40676</c:v>
                </c:pt>
                <c:pt idx="2791" formatCode="m/d/yyyy">
                  <c:v>40679</c:v>
                </c:pt>
                <c:pt idx="2792" formatCode="m/d/yyyy">
                  <c:v>40680</c:v>
                </c:pt>
                <c:pt idx="2793" formatCode="m/d/yyyy">
                  <c:v>40681</c:v>
                </c:pt>
                <c:pt idx="2794" formatCode="m/d/yyyy">
                  <c:v>40682</c:v>
                </c:pt>
                <c:pt idx="2795" formatCode="m/d/yyyy">
                  <c:v>40683</c:v>
                </c:pt>
                <c:pt idx="2796" formatCode="m/d/yyyy">
                  <c:v>40686</c:v>
                </c:pt>
                <c:pt idx="2797" formatCode="m/d/yyyy">
                  <c:v>40687</c:v>
                </c:pt>
                <c:pt idx="2798" formatCode="m/d/yyyy">
                  <c:v>40688</c:v>
                </c:pt>
                <c:pt idx="2799" formatCode="m/d/yyyy">
                  <c:v>40689</c:v>
                </c:pt>
                <c:pt idx="2800" formatCode="m/d/yyyy">
                  <c:v>40690</c:v>
                </c:pt>
                <c:pt idx="2801" formatCode="m/d/yyyy">
                  <c:v>40693</c:v>
                </c:pt>
                <c:pt idx="2802" formatCode="m/d/yyyy">
                  <c:v>40694</c:v>
                </c:pt>
                <c:pt idx="2803" formatCode="m/d/yyyy">
                  <c:v>40695</c:v>
                </c:pt>
                <c:pt idx="2804" formatCode="m/d/yyyy">
                  <c:v>40696</c:v>
                </c:pt>
                <c:pt idx="2805" formatCode="m/d/yyyy">
                  <c:v>40697</c:v>
                </c:pt>
                <c:pt idx="2806" formatCode="m/d/yyyy">
                  <c:v>40700</c:v>
                </c:pt>
                <c:pt idx="2807" formatCode="m/d/yyyy">
                  <c:v>40701</c:v>
                </c:pt>
                <c:pt idx="2808" formatCode="m/d/yyyy">
                  <c:v>40702</c:v>
                </c:pt>
                <c:pt idx="2809" formatCode="m/d/yyyy">
                  <c:v>40703</c:v>
                </c:pt>
                <c:pt idx="2810" formatCode="m/d/yyyy">
                  <c:v>40704</c:v>
                </c:pt>
                <c:pt idx="2811" formatCode="m/d/yyyy">
                  <c:v>40708</c:v>
                </c:pt>
                <c:pt idx="2812" formatCode="m/d/yyyy">
                  <c:v>40709</c:v>
                </c:pt>
                <c:pt idx="2813" formatCode="m/d/yyyy">
                  <c:v>40710</c:v>
                </c:pt>
                <c:pt idx="2814" formatCode="m/d/yyyy">
                  <c:v>40711</c:v>
                </c:pt>
                <c:pt idx="2815" formatCode="m/d/yyyy">
                  <c:v>40714</c:v>
                </c:pt>
                <c:pt idx="2816" formatCode="m/d/yyyy">
                  <c:v>40715</c:v>
                </c:pt>
                <c:pt idx="2817" formatCode="m/d/yyyy">
                  <c:v>40716</c:v>
                </c:pt>
                <c:pt idx="2818" formatCode="m/d/yyyy">
                  <c:v>40717</c:v>
                </c:pt>
                <c:pt idx="2819" formatCode="m/d/yyyy">
                  <c:v>40718</c:v>
                </c:pt>
                <c:pt idx="2820" formatCode="m/d/yyyy">
                  <c:v>40721</c:v>
                </c:pt>
                <c:pt idx="2821" formatCode="m/d/yyyy">
                  <c:v>40722</c:v>
                </c:pt>
                <c:pt idx="2822" formatCode="m/d/yyyy">
                  <c:v>40723</c:v>
                </c:pt>
                <c:pt idx="2823" formatCode="m/d/yyyy">
                  <c:v>40724</c:v>
                </c:pt>
                <c:pt idx="2824" formatCode="m/d/yyyy">
                  <c:v>40725</c:v>
                </c:pt>
                <c:pt idx="2825" formatCode="m/d/yyyy">
                  <c:v>40728</c:v>
                </c:pt>
                <c:pt idx="2826" formatCode="m/d/yyyy">
                  <c:v>40729</c:v>
                </c:pt>
                <c:pt idx="2827" formatCode="m/d/yyyy">
                  <c:v>40730</c:v>
                </c:pt>
                <c:pt idx="2828" formatCode="m/d/yyyy">
                  <c:v>40731</c:v>
                </c:pt>
                <c:pt idx="2829" formatCode="m/d/yyyy">
                  <c:v>40732</c:v>
                </c:pt>
                <c:pt idx="2830" formatCode="m/d/yyyy">
                  <c:v>40735</c:v>
                </c:pt>
                <c:pt idx="2831" formatCode="m/d/yyyy">
                  <c:v>40736</c:v>
                </c:pt>
                <c:pt idx="2832" formatCode="m/d/yyyy">
                  <c:v>40737</c:v>
                </c:pt>
                <c:pt idx="2833" formatCode="m/d/yyyy">
                  <c:v>40738</c:v>
                </c:pt>
                <c:pt idx="2834" formatCode="m/d/yyyy">
                  <c:v>40739</c:v>
                </c:pt>
                <c:pt idx="2835" formatCode="m/d/yyyy">
                  <c:v>40742</c:v>
                </c:pt>
                <c:pt idx="2836" formatCode="m/d/yyyy">
                  <c:v>40743</c:v>
                </c:pt>
                <c:pt idx="2837" formatCode="m/d/yyyy">
                  <c:v>40744</c:v>
                </c:pt>
                <c:pt idx="2838" formatCode="m/d/yyyy">
                  <c:v>40745</c:v>
                </c:pt>
                <c:pt idx="2839" formatCode="m/d/yyyy">
                  <c:v>40746</c:v>
                </c:pt>
                <c:pt idx="2840" formatCode="m/d/yyyy">
                  <c:v>40749</c:v>
                </c:pt>
                <c:pt idx="2841" formatCode="m/d/yyyy">
                  <c:v>40750</c:v>
                </c:pt>
                <c:pt idx="2842" formatCode="m/d/yyyy">
                  <c:v>40751</c:v>
                </c:pt>
                <c:pt idx="2843" formatCode="m/d/yyyy">
                  <c:v>40752</c:v>
                </c:pt>
                <c:pt idx="2844" formatCode="m/d/yyyy">
                  <c:v>40753</c:v>
                </c:pt>
                <c:pt idx="2845" formatCode="m/d/yyyy">
                  <c:v>40756</c:v>
                </c:pt>
                <c:pt idx="2846" formatCode="m/d/yyyy">
                  <c:v>40757</c:v>
                </c:pt>
                <c:pt idx="2847" formatCode="m/d/yyyy">
                  <c:v>40758</c:v>
                </c:pt>
                <c:pt idx="2848" formatCode="m/d/yyyy">
                  <c:v>40759</c:v>
                </c:pt>
                <c:pt idx="2849" formatCode="m/d/yyyy">
                  <c:v>40760</c:v>
                </c:pt>
                <c:pt idx="2850" formatCode="m/d/yyyy">
                  <c:v>40763</c:v>
                </c:pt>
                <c:pt idx="2851" formatCode="m/d/yyyy">
                  <c:v>40764</c:v>
                </c:pt>
                <c:pt idx="2852" formatCode="m/d/yyyy">
                  <c:v>40765</c:v>
                </c:pt>
                <c:pt idx="2853" formatCode="m/d/yyyy">
                  <c:v>40766</c:v>
                </c:pt>
                <c:pt idx="2854" formatCode="m/d/yyyy">
                  <c:v>40767</c:v>
                </c:pt>
                <c:pt idx="2855" formatCode="m/d/yyyy">
                  <c:v>40770</c:v>
                </c:pt>
                <c:pt idx="2856" formatCode="m/d/yyyy">
                  <c:v>40771</c:v>
                </c:pt>
                <c:pt idx="2857" formatCode="m/d/yyyy">
                  <c:v>40772</c:v>
                </c:pt>
                <c:pt idx="2858" formatCode="m/d/yyyy">
                  <c:v>40773</c:v>
                </c:pt>
                <c:pt idx="2859" formatCode="m/d/yyyy">
                  <c:v>40774</c:v>
                </c:pt>
                <c:pt idx="2860" formatCode="m/d/yyyy">
                  <c:v>40777</c:v>
                </c:pt>
                <c:pt idx="2861" formatCode="m/d/yyyy">
                  <c:v>40778</c:v>
                </c:pt>
                <c:pt idx="2862" formatCode="m/d/yyyy">
                  <c:v>40779</c:v>
                </c:pt>
                <c:pt idx="2863" formatCode="m/d/yyyy">
                  <c:v>40780</c:v>
                </c:pt>
                <c:pt idx="2864" formatCode="m/d/yyyy">
                  <c:v>40781</c:v>
                </c:pt>
                <c:pt idx="2865" formatCode="m/d/yyyy">
                  <c:v>40784</c:v>
                </c:pt>
                <c:pt idx="2866" formatCode="m/d/yyyy">
                  <c:v>40785</c:v>
                </c:pt>
                <c:pt idx="2867" formatCode="m/d/yyyy">
                  <c:v>40786</c:v>
                </c:pt>
                <c:pt idx="2868" formatCode="m/d/yyyy">
                  <c:v>40787</c:v>
                </c:pt>
                <c:pt idx="2869" formatCode="m/d/yyyy">
                  <c:v>40788</c:v>
                </c:pt>
                <c:pt idx="2870" formatCode="m/d/yyyy">
                  <c:v>40791</c:v>
                </c:pt>
                <c:pt idx="2871" formatCode="m/d/yyyy">
                  <c:v>40792</c:v>
                </c:pt>
                <c:pt idx="2872" formatCode="m/d/yyyy">
                  <c:v>40793</c:v>
                </c:pt>
                <c:pt idx="2873" formatCode="m/d/yyyy">
                  <c:v>40794</c:v>
                </c:pt>
                <c:pt idx="2874" formatCode="m/d/yyyy">
                  <c:v>40795</c:v>
                </c:pt>
                <c:pt idx="2875" formatCode="m/d/yyyy">
                  <c:v>40798</c:v>
                </c:pt>
                <c:pt idx="2876" formatCode="m/d/yyyy">
                  <c:v>40799</c:v>
                </c:pt>
                <c:pt idx="2877" formatCode="m/d/yyyy">
                  <c:v>40800</c:v>
                </c:pt>
                <c:pt idx="2878" formatCode="m/d/yyyy">
                  <c:v>40801</c:v>
                </c:pt>
                <c:pt idx="2879" formatCode="m/d/yyyy">
                  <c:v>40802</c:v>
                </c:pt>
                <c:pt idx="2880" formatCode="m/d/yyyy">
                  <c:v>40805</c:v>
                </c:pt>
                <c:pt idx="2881" formatCode="m/d/yyyy">
                  <c:v>40806</c:v>
                </c:pt>
                <c:pt idx="2882" formatCode="m/d/yyyy">
                  <c:v>40807</c:v>
                </c:pt>
                <c:pt idx="2883" formatCode="m/d/yyyy">
                  <c:v>40808</c:v>
                </c:pt>
                <c:pt idx="2884" formatCode="m/d/yyyy">
                  <c:v>40809</c:v>
                </c:pt>
                <c:pt idx="2885" formatCode="m/d/yyyy">
                  <c:v>40812</c:v>
                </c:pt>
                <c:pt idx="2886" formatCode="m/d/yyyy">
                  <c:v>40813</c:v>
                </c:pt>
                <c:pt idx="2887" formatCode="m/d/yyyy">
                  <c:v>40814</c:v>
                </c:pt>
                <c:pt idx="2888" formatCode="m/d/yyyy">
                  <c:v>40815</c:v>
                </c:pt>
                <c:pt idx="2889" formatCode="m/d/yyyy">
                  <c:v>40816</c:v>
                </c:pt>
                <c:pt idx="2890" formatCode="m/d/yyyy">
                  <c:v>40819</c:v>
                </c:pt>
                <c:pt idx="2891" formatCode="m/d/yyyy">
                  <c:v>40820</c:v>
                </c:pt>
                <c:pt idx="2892" formatCode="m/d/yyyy">
                  <c:v>40821</c:v>
                </c:pt>
                <c:pt idx="2893" formatCode="m/d/yyyy">
                  <c:v>40822</c:v>
                </c:pt>
                <c:pt idx="2894" formatCode="m/d/yyyy">
                  <c:v>40823</c:v>
                </c:pt>
                <c:pt idx="2895" formatCode="m/d/yyyy">
                  <c:v>40826</c:v>
                </c:pt>
                <c:pt idx="2896" formatCode="m/d/yyyy">
                  <c:v>40827</c:v>
                </c:pt>
                <c:pt idx="2897" formatCode="m/d/yyyy">
                  <c:v>40828</c:v>
                </c:pt>
                <c:pt idx="2898" formatCode="m/d/yyyy">
                  <c:v>40829</c:v>
                </c:pt>
                <c:pt idx="2899" formatCode="m/d/yyyy">
                  <c:v>40830</c:v>
                </c:pt>
                <c:pt idx="2900" formatCode="m/d/yyyy">
                  <c:v>40833</c:v>
                </c:pt>
                <c:pt idx="2901" formatCode="m/d/yyyy">
                  <c:v>40834</c:v>
                </c:pt>
                <c:pt idx="2902" formatCode="m/d/yyyy">
                  <c:v>40835</c:v>
                </c:pt>
                <c:pt idx="2903" formatCode="m/d/yyyy">
                  <c:v>40836</c:v>
                </c:pt>
                <c:pt idx="2904" formatCode="m/d/yyyy">
                  <c:v>40837</c:v>
                </c:pt>
                <c:pt idx="2905" formatCode="m/d/yyyy">
                  <c:v>40840</c:v>
                </c:pt>
                <c:pt idx="2906" formatCode="m/d/yyyy">
                  <c:v>40841</c:v>
                </c:pt>
                <c:pt idx="2907" formatCode="m/d/yyyy">
                  <c:v>40842</c:v>
                </c:pt>
                <c:pt idx="2908" formatCode="m/d/yyyy">
                  <c:v>40843</c:v>
                </c:pt>
                <c:pt idx="2909" formatCode="m/d/yyyy">
                  <c:v>40844</c:v>
                </c:pt>
                <c:pt idx="2910" formatCode="m/d/yyyy">
                  <c:v>40849</c:v>
                </c:pt>
                <c:pt idx="2911" formatCode="m/d/yyyy">
                  <c:v>40850</c:v>
                </c:pt>
                <c:pt idx="2912" formatCode="m/d/yyyy">
                  <c:v>40851</c:v>
                </c:pt>
                <c:pt idx="2913" formatCode="m/d/yyyy">
                  <c:v>40852</c:v>
                </c:pt>
                <c:pt idx="2914" formatCode="m/d/yyyy">
                  <c:v>40854</c:v>
                </c:pt>
                <c:pt idx="2915" formatCode="m/d/yyyy">
                  <c:v>40855</c:v>
                </c:pt>
                <c:pt idx="2916" formatCode="m/d/yyyy">
                  <c:v>40856</c:v>
                </c:pt>
                <c:pt idx="2917" formatCode="m/d/yyyy">
                  <c:v>40857</c:v>
                </c:pt>
                <c:pt idx="2918" formatCode="m/d/yyyy">
                  <c:v>40858</c:v>
                </c:pt>
                <c:pt idx="2919" formatCode="m/d/yyyy">
                  <c:v>40861</c:v>
                </c:pt>
                <c:pt idx="2920" formatCode="m/d/yyyy">
                  <c:v>40862</c:v>
                </c:pt>
                <c:pt idx="2921" formatCode="m/d/yyyy">
                  <c:v>40863</c:v>
                </c:pt>
                <c:pt idx="2922" formatCode="m/d/yyyy">
                  <c:v>40864</c:v>
                </c:pt>
                <c:pt idx="2923" formatCode="m/d/yyyy">
                  <c:v>40865</c:v>
                </c:pt>
                <c:pt idx="2924" formatCode="m/d/yyyy">
                  <c:v>40868</c:v>
                </c:pt>
                <c:pt idx="2925" formatCode="m/d/yyyy">
                  <c:v>40869</c:v>
                </c:pt>
                <c:pt idx="2926" formatCode="m/d/yyyy">
                  <c:v>40870</c:v>
                </c:pt>
                <c:pt idx="2927" formatCode="m/d/yyyy">
                  <c:v>40871</c:v>
                </c:pt>
                <c:pt idx="2928" formatCode="m/d/yyyy">
                  <c:v>40872</c:v>
                </c:pt>
                <c:pt idx="2929" formatCode="m/d/yyyy">
                  <c:v>40875</c:v>
                </c:pt>
                <c:pt idx="2930" formatCode="m/d/yyyy">
                  <c:v>40876</c:v>
                </c:pt>
                <c:pt idx="2931" formatCode="m/d/yyyy">
                  <c:v>40877</c:v>
                </c:pt>
                <c:pt idx="2932" formatCode="m/d/yyyy">
                  <c:v>40878</c:v>
                </c:pt>
                <c:pt idx="2933" formatCode="m/d/yyyy">
                  <c:v>40879</c:v>
                </c:pt>
                <c:pt idx="2934" formatCode="m/d/yyyy">
                  <c:v>40882</c:v>
                </c:pt>
                <c:pt idx="2935" formatCode="m/d/yyyy">
                  <c:v>40883</c:v>
                </c:pt>
                <c:pt idx="2936" formatCode="m/d/yyyy">
                  <c:v>40884</c:v>
                </c:pt>
                <c:pt idx="2937" formatCode="m/d/yyyy">
                  <c:v>40885</c:v>
                </c:pt>
                <c:pt idx="2938" formatCode="m/d/yyyy">
                  <c:v>40886</c:v>
                </c:pt>
                <c:pt idx="2939" formatCode="m/d/yyyy">
                  <c:v>40889</c:v>
                </c:pt>
                <c:pt idx="2940" formatCode="m/d/yyyy">
                  <c:v>40890</c:v>
                </c:pt>
                <c:pt idx="2941" formatCode="m/d/yyyy">
                  <c:v>40891</c:v>
                </c:pt>
                <c:pt idx="2942" formatCode="m/d/yyyy">
                  <c:v>40892</c:v>
                </c:pt>
                <c:pt idx="2943" formatCode="m/d/yyyy">
                  <c:v>40893</c:v>
                </c:pt>
                <c:pt idx="2944" formatCode="m/d/yyyy">
                  <c:v>40896</c:v>
                </c:pt>
                <c:pt idx="2945" formatCode="m/d/yyyy">
                  <c:v>40897</c:v>
                </c:pt>
                <c:pt idx="2946" formatCode="m/d/yyyy">
                  <c:v>40898</c:v>
                </c:pt>
                <c:pt idx="2947" formatCode="m/d/yyyy">
                  <c:v>40899</c:v>
                </c:pt>
                <c:pt idx="2948" formatCode="m/d/yyyy">
                  <c:v>40900</c:v>
                </c:pt>
                <c:pt idx="2949" formatCode="m/d/yyyy">
                  <c:v>40904</c:v>
                </c:pt>
                <c:pt idx="2950" formatCode="m/d/yyyy">
                  <c:v>40905</c:v>
                </c:pt>
                <c:pt idx="2951" formatCode="m/d/yyyy">
                  <c:v>40906</c:v>
                </c:pt>
                <c:pt idx="2952" formatCode="m/d/yyyy">
                  <c:v>40907</c:v>
                </c:pt>
                <c:pt idx="2953" formatCode="m/d/yyyy">
                  <c:v>40910</c:v>
                </c:pt>
                <c:pt idx="2954" formatCode="m/d/yyyy">
                  <c:v>40911</c:v>
                </c:pt>
                <c:pt idx="2955" formatCode="m/d/yyyy">
                  <c:v>40912</c:v>
                </c:pt>
                <c:pt idx="2956" formatCode="m/d/yyyy">
                  <c:v>40913</c:v>
                </c:pt>
                <c:pt idx="2957" formatCode="m/d/yyyy">
                  <c:v>40914</c:v>
                </c:pt>
                <c:pt idx="2958" formatCode="m/d/yyyy">
                  <c:v>40917</c:v>
                </c:pt>
                <c:pt idx="2959" formatCode="m/d/yyyy">
                  <c:v>40918</c:v>
                </c:pt>
                <c:pt idx="2960" formatCode="m/d/yyyy">
                  <c:v>40919</c:v>
                </c:pt>
                <c:pt idx="2961" formatCode="m/d/yyyy">
                  <c:v>40920</c:v>
                </c:pt>
                <c:pt idx="2962" formatCode="m/d/yyyy">
                  <c:v>40921</c:v>
                </c:pt>
                <c:pt idx="2963" formatCode="m/d/yyyy">
                  <c:v>40924</c:v>
                </c:pt>
                <c:pt idx="2964" formatCode="m/d/yyyy">
                  <c:v>40925</c:v>
                </c:pt>
                <c:pt idx="2965" formatCode="m/d/yyyy">
                  <c:v>40926</c:v>
                </c:pt>
                <c:pt idx="2966" formatCode="m/d/yyyy">
                  <c:v>40927</c:v>
                </c:pt>
                <c:pt idx="2967" formatCode="m/d/yyyy">
                  <c:v>40928</c:v>
                </c:pt>
                <c:pt idx="2968" formatCode="m/d/yyyy">
                  <c:v>40931</c:v>
                </c:pt>
                <c:pt idx="2969" formatCode="m/d/yyyy">
                  <c:v>40932</c:v>
                </c:pt>
                <c:pt idx="2970" formatCode="m/d/yyyy">
                  <c:v>40933</c:v>
                </c:pt>
                <c:pt idx="2971" formatCode="m/d/yyyy">
                  <c:v>40934</c:v>
                </c:pt>
                <c:pt idx="2972" formatCode="m/d/yyyy">
                  <c:v>40935</c:v>
                </c:pt>
                <c:pt idx="2973" formatCode="m/d/yyyy">
                  <c:v>40938</c:v>
                </c:pt>
                <c:pt idx="2974" formatCode="m/d/yyyy">
                  <c:v>40939</c:v>
                </c:pt>
                <c:pt idx="2975" formatCode="m/d/yyyy">
                  <c:v>40940</c:v>
                </c:pt>
                <c:pt idx="2976" formatCode="m/d/yyyy">
                  <c:v>40941</c:v>
                </c:pt>
                <c:pt idx="2977" formatCode="m/d/yyyy">
                  <c:v>40942</c:v>
                </c:pt>
                <c:pt idx="2978" formatCode="m/d/yyyy">
                  <c:v>40945</c:v>
                </c:pt>
                <c:pt idx="2979" formatCode="m/d/yyyy">
                  <c:v>40946</c:v>
                </c:pt>
                <c:pt idx="2980" formatCode="m/d/yyyy">
                  <c:v>40947</c:v>
                </c:pt>
                <c:pt idx="2981" formatCode="m/d/yyyy">
                  <c:v>40948</c:v>
                </c:pt>
                <c:pt idx="2982" formatCode="m/d/yyyy">
                  <c:v>40949</c:v>
                </c:pt>
                <c:pt idx="2983" formatCode="m/d/yyyy">
                  <c:v>40952</c:v>
                </c:pt>
                <c:pt idx="2984" formatCode="m/d/yyyy">
                  <c:v>40953</c:v>
                </c:pt>
                <c:pt idx="2985" formatCode="m/d/yyyy">
                  <c:v>40954</c:v>
                </c:pt>
                <c:pt idx="2986" formatCode="m/d/yyyy">
                  <c:v>40955</c:v>
                </c:pt>
                <c:pt idx="2987" formatCode="m/d/yyyy">
                  <c:v>40956</c:v>
                </c:pt>
                <c:pt idx="2988" formatCode="m/d/yyyy">
                  <c:v>40959</c:v>
                </c:pt>
                <c:pt idx="2989" formatCode="m/d/yyyy">
                  <c:v>40960</c:v>
                </c:pt>
                <c:pt idx="2990" formatCode="m/d/yyyy">
                  <c:v>40961</c:v>
                </c:pt>
                <c:pt idx="2991" formatCode="m/d/yyyy">
                  <c:v>40962</c:v>
                </c:pt>
                <c:pt idx="2992" formatCode="m/d/yyyy">
                  <c:v>40963</c:v>
                </c:pt>
                <c:pt idx="2993" formatCode="m/d/yyyy">
                  <c:v>40966</c:v>
                </c:pt>
                <c:pt idx="2994" formatCode="m/d/yyyy">
                  <c:v>40967</c:v>
                </c:pt>
                <c:pt idx="2995" formatCode="m/d/yyyy">
                  <c:v>40968</c:v>
                </c:pt>
                <c:pt idx="2996" formatCode="m/d/yyyy">
                  <c:v>40969</c:v>
                </c:pt>
                <c:pt idx="2997" formatCode="m/d/yyyy">
                  <c:v>40970</c:v>
                </c:pt>
                <c:pt idx="2998" formatCode="m/d/yyyy">
                  <c:v>40973</c:v>
                </c:pt>
                <c:pt idx="2999" formatCode="m/d/yyyy">
                  <c:v>40974</c:v>
                </c:pt>
                <c:pt idx="3000" formatCode="m/d/yyyy">
                  <c:v>40975</c:v>
                </c:pt>
                <c:pt idx="3001" formatCode="m/d/yyyy">
                  <c:v>40976</c:v>
                </c:pt>
                <c:pt idx="3002" formatCode="m/d/yyyy">
                  <c:v>40977</c:v>
                </c:pt>
                <c:pt idx="3003" formatCode="m/d/yyyy">
                  <c:v>40980</c:v>
                </c:pt>
                <c:pt idx="3004" formatCode="m/d/yyyy">
                  <c:v>40981</c:v>
                </c:pt>
                <c:pt idx="3005" formatCode="m/d/yyyy">
                  <c:v>40982</c:v>
                </c:pt>
                <c:pt idx="3006" formatCode="m/d/yyyy">
                  <c:v>40987</c:v>
                </c:pt>
                <c:pt idx="3007" formatCode="m/d/yyyy">
                  <c:v>40988</c:v>
                </c:pt>
                <c:pt idx="3008" formatCode="m/d/yyyy">
                  <c:v>40989</c:v>
                </c:pt>
                <c:pt idx="3009" formatCode="m/d/yyyy">
                  <c:v>40990</c:v>
                </c:pt>
                <c:pt idx="3010" formatCode="m/d/yyyy">
                  <c:v>40991</c:v>
                </c:pt>
                <c:pt idx="3011" formatCode="m/d/yyyy">
                  <c:v>40992</c:v>
                </c:pt>
                <c:pt idx="3012" formatCode="m/d/yyyy">
                  <c:v>40994</c:v>
                </c:pt>
                <c:pt idx="3013" formatCode="m/d/yyyy">
                  <c:v>40995</c:v>
                </c:pt>
                <c:pt idx="3014" formatCode="m/d/yyyy">
                  <c:v>40996</c:v>
                </c:pt>
                <c:pt idx="3015" formatCode="m/d/yyyy">
                  <c:v>40997</c:v>
                </c:pt>
                <c:pt idx="3016" formatCode="m/d/yyyy">
                  <c:v>40998</c:v>
                </c:pt>
                <c:pt idx="3017" formatCode="m/d/yyyy">
                  <c:v>41001</c:v>
                </c:pt>
                <c:pt idx="3018" formatCode="m/d/yyyy">
                  <c:v>41002</c:v>
                </c:pt>
                <c:pt idx="3019" formatCode="m/d/yyyy">
                  <c:v>41003</c:v>
                </c:pt>
                <c:pt idx="3020" formatCode="m/d/yyyy">
                  <c:v>41004</c:v>
                </c:pt>
                <c:pt idx="3021" formatCode="m/d/yyyy">
                  <c:v>41005</c:v>
                </c:pt>
                <c:pt idx="3022" formatCode="m/d/yyyy">
                  <c:v>41009</c:v>
                </c:pt>
                <c:pt idx="3023" formatCode="m/d/yyyy">
                  <c:v>41010</c:v>
                </c:pt>
                <c:pt idx="3024" formatCode="m/d/yyyy">
                  <c:v>41011</c:v>
                </c:pt>
                <c:pt idx="3025" formatCode="m/d/yyyy">
                  <c:v>41012</c:v>
                </c:pt>
                <c:pt idx="3026" formatCode="m/d/yyyy">
                  <c:v>41015</c:v>
                </c:pt>
                <c:pt idx="3027" formatCode="m/d/yyyy">
                  <c:v>41016</c:v>
                </c:pt>
                <c:pt idx="3028" formatCode="m/d/yyyy">
                  <c:v>41017</c:v>
                </c:pt>
                <c:pt idx="3029" formatCode="m/d/yyyy">
                  <c:v>41018</c:v>
                </c:pt>
                <c:pt idx="3030" formatCode="m/d/yyyy">
                  <c:v>41019</c:v>
                </c:pt>
                <c:pt idx="3031" formatCode="m/d/yyyy">
                  <c:v>41020</c:v>
                </c:pt>
                <c:pt idx="3032" formatCode="m/d/yyyy">
                  <c:v>41022</c:v>
                </c:pt>
                <c:pt idx="3033" formatCode="m/d/yyyy">
                  <c:v>41023</c:v>
                </c:pt>
                <c:pt idx="3034" formatCode="m/d/yyyy">
                  <c:v>41024</c:v>
                </c:pt>
                <c:pt idx="3035" formatCode="m/d/yyyy">
                  <c:v>41025</c:v>
                </c:pt>
                <c:pt idx="3036" formatCode="m/d/yyyy">
                  <c:v>41026</c:v>
                </c:pt>
                <c:pt idx="3037" formatCode="m/d/yyyy">
                  <c:v>41031</c:v>
                </c:pt>
                <c:pt idx="3038" formatCode="m/d/yyyy">
                  <c:v>41032</c:v>
                </c:pt>
                <c:pt idx="3039" formatCode="m/d/yyyy">
                  <c:v>41033</c:v>
                </c:pt>
                <c:pt idx="3040" formatCode="m/d/yyyy">
                  <c:v>41036</c:v>
                </c:pt>
                <c:pt idx="3041" formatCode="m/d/yyyy">
                  <c:v>41037</c:v>
                </c:pt>
                <c:pt idx="3042" formatCode="m/d/yyyy">
                  <c:v>41038</c:v>
                </c:pt>
                <c:pt idx="3043" formatCode="m/d/yyyy">
                  <c:v>41039</c:v>
                </c:pt>
                <c:pt idx="3044" formatCode="m/d/yyyy">
                  <c:v>41040</c:v>
                </c:pt>
                <c:pt idx="3045" formatCode="m/d/yyyy">
                  <c:v>41043</c:v>
                </c:pt>
                <c:pt idx="3046" formatCode="m/d/yyyy">
                  <c:v>41044</c:v>
                </c:pt>
                <c:pt idx="3047" formatCode="m/d/yyyy">
                  <c:v>41045</c:v>
                </c:pt>
                <c:pt idx="3048" formatCode="m/d/yyyy">
                  <c:v>41046</c:v>
                </c:pt>
                <c:pt idx="3049" formatCode="m/d/yyyy">
                  <c:v>41047</c:v>
                </c:pt>
                <c:pt idx="3050" formatCode="m/d/yyyy">
                  <c:v>41050</c:v>
                </c:pt>
                <c:pt idx="3051" formatCode="m/d/yyyy">
                  <c:v>41051</c:v>
                </c:pt>
                <c:pt idx="3052" formatCode="m/d/yyyy">
                  <c:v>41052</c:v>
                </c:pt>
                <c:pt idx="3053" formatCode="m/d/yyyy">
                  <c:v>41053</c:v>
                </c:pt>
                <c:pt idx="3054" formatCode="m/d/yyyy">
                  <c:v>41054</c:v>
                </c:pt>
                <c:pt idx="3055" formatCode="m/d/yyyy">
                  <c:v>41058</c:v>
                </c:pt>
                <c:pt idx="3056" formatCode="m/d/yyyy">
                  <c:v>41059</c:v>
                </c:pt>
                <c:pt idx="3057" formatCode="m/d/yyyy">
                  <c:v>41060</c:v>
                </c:pt>
                <c:pt idx="3058" formatCode="m/d/yyyy">
                  <c:v>41061</c:v>
                </c:pt>
                <c:pt idx="3059" formatCode="m/d/yyyy">
                  <c:v>41064</c:v>
                </c:pt>
                <c:pt idx="3060" formatCode="m/d/yyyy">
                  <c:v>41065</c:v>
                </c:pt>
                <c:pt idx="3061" formatCode="m/d/yyyy">
                  <c:v>41066</c:v>
                </c:pt>
                <c:pt idx="3062" formatCode="m/d/yyyy">
                  <c:v>41067</c:v>
                </c:pt>
                <c:pt idx="3063" formatCode="m/d/yyyy">
                  <c:v>41068</c:v>
                </c:pt>
                <c:pt idx="3064" formatCode="m/d/yyyy">
                  <c:v>41071</c:v>
                </c:pt>
                <c:pt idx="3065" formatCode="m/d/yyyy">
                  <c:v>41072</c:v>
                </c:pt>
                <c:pt idx="3066" formatCode="m/d/yyyy">
                  <c:v>41073</c:v>
                </c:pt>
                <c:pt idx="3067" formatCode="m/d/yyyy">
                  <c:v>41074</c:v>
                </c:pt>
                <c:pt idx="3068" formatCode="m/d/yyyy">
                  <c:v>41075</c:v>
                </c:pt>
                <c:pt idx="3069" formatCode="m/d/yyyy">
                  <c:v>41078</c:v>
                </c:pt>
                <c:pt idx="3070" formatCode="m/d/yyyy">
                  <c:v>41079</c:v>
                </c:pt>
                <c:pt idx="3071" formatCode="m/d/yyyy">
                  <c:v>41080</c:v>
                </c:pt>
                <c:pt idx="3072" formatCode="m/d/yyyy">
                  <c:v>41081</c:v>
                </c:pt>
                <c:pt idx="3073" formatCode="m/d/yyyy">
                  <c:v>41082</c:v>
                </c:pt>
                <c:pt idx="3074" formatCode="m/d/yyyy">
                  <c:v>41085</c:v>
                </c:pt>
                <c:pt idx="3075" formatCode="m/d/yyyy">
                  <c:v>41086</c:v>
                </c:pt>
                <c:pt idx="3076" formatCode="m/d/yyyy">
                  <c:v>41087</c:v>
                </c:pt>
                <c:pt idx="3077" formatCode="m/d/yyyy">
                  <c:v>41088</c:v>
                </c:pt>
                <c:pt idx="3078" formatCode="m/d/yyyy">
                  <c:v>41089</c:v>
                </c:pt>
                <c:pt idx="3079" formatCode="m/d/yyyy">
                  <c:v>41092</c:v>
                </c:pt>
                <c:pt idx="3080" formatCode="m/d/yyyy">
                  <c:v>41093</c:v>
                </c:pt>
                <c:pt idx="3081" formatCode="m/d/yyyy">
                  <c:v>41094</c:v>
                </c:pt>
                <c:pt idx="3082" formatCode="m/d/yyyy">
                  <c:v>41095</c:v>
                </c:pt>
                <c:pt idx="3083" formatCode="m/d/yyyy">
                  <c:v>41096</c:v>
                </c:pt>
                <c:pt idx="3084" formatCode="m/d/yyyy">
                  <c:v>41099</c:v>
                </c:pt>
                <c:pt idx="3085" formatCode="m/d/yyyy">
                  <c:v>41100</c:v>
                </c:pt>
                <c:pt idx="3086" formatCode="m/d/yyyy">
                  <c:v>41101</c:v>
                </c:pt>
                <c:pt idx="3087" formatCode="m/d/yyyy">
                  <c:v>41102</c:v>
                </c:pt>
                <c:pt idx="3088" formatCode="m/d/yyyy">
                  <c:v>41103</c:v>
                </c:pt>
                <c:pt idx="3089" formatCode="m/d/yyyy">
                  <c:v>41106</c:v>
                </c:pt>
                <c:pt idx="3090" formatCode="m/d/yyyy">
                  <c:v>41107</c:v>
                </c:pt>
                <c:pt idx="3091" formatCode="m/d/yyyy">
                  <c:v>41108</c:v>
                </c:pt>
                <c:pt idx="3092" formatCode="m/d/yyyy">
                  <c:v>41109</c:v>
                </c:pt>
                <c:pt idx="3093" formatCode="m/d/yyyy">
                  <c:v>41110</c:v>
                </c:pt>
                <c:pt idx="3094" formatCode="m/d/yyyy">
                  <c:v>41113</c:v>
                </c:pt>
                <c:pt idx="3095" formatCode="m/d/yyyy">
                  <c:v>41114</c:v>
                </c:pt>
                <c:pt idx="3096" formatCode="m/d/yyyy">
                  <c:v>41115</c:v>
                </c:pt>
                <c:pt idx="3097" formatCode="m/d/yyyy">
                  <c:v>41116</c:v>
                </c:pt>
                <c:pt idx="3098" formatCode="m/d/yyyy">
                  <c:v>41117</c:v>
                </c:pt>
                <c:pt idx="3099" formatCode="m/d/yyyy">
                  <c:v>41120</c:v>
                </c:pt>
                <c:pt idx="3100" formatCode="m/d/yyyy">
                  <c:v>41121</c:v>
                </c:pt>
                <c:pt idx="3101" formatCode="m/d/yyyy">
                  <c:v>41122</c:v>
                </c:pt>
                <c:pt idx="3102" formatCode="m/d/yyyy">
                  <c:v>41123</c:v>
                </c:pt>
                <c:pt idx="3103" formatCode="m/d/yyyy">
                  <c:v>41124</c:v>
                </c:pt>
                <c:pt idx="3104" formatCode="m/d/yyyy">
                  <c:v>41127</c:v>
                </c:pt>
                <c:pt idx="3105" formatCode="m/d/yyyy">
                  <c:v>41128</c:v>
                </c:pt>
                <c:pt idx="3106" formatCode="m/d/yyyy">
                  <c:v>41129</c:v>
                </c:pt>
                <c:pt idx="3107" formatCode="m/d/yyyy">
                  <c:v>41130</c:v>
                </c:pt>
                <c:pt idx="3108" formatCode="m/d/yyyy">
                  <c:v>41131</c:v>
                </c:pt>
                <c:pt idx="3109" formatCode="m/d/yyyy">
                  <c:v>41134</c:v>
                </c:pt>
                <c:pt idx="3110" formatCode="m/d/yyyy">
                  <c:v>41135</c:v>
                </c:pt>
                <c:pt idx="3111" formatCode="m/d/yyyy">
                  <c:v>41136</c:v>
                </c:pt>
                <c:pt idx="3112" formatCode="m/d/yyyy">
                  <c:v>41137</c:v>
                </c:pt>
                <c:pt idx="3113" formatCode="m/d/yyyy">
                  <c:v>41138</c:v>
                </c:pt>
                <c:pt idx="3114" formatCode="m/d/yyyy">
                  <c:v>41142</c:v>
                </c:pt>
                <c:pt idx="3115" formatCode="m/d/yyyy">
                  <c:v>41143</c:v>
                </c:pt>
                <c:pt idx="3116" formatCode="m/d/yyyy">
                  <c:v>41144</c:v>
                </c:pt>
                <c:pt idx="3117" formatCode="m/d/yyyy">
                  <c:v>41145</c:v>
                </c:pt>
                <c:pt idx="3118" formatCode="m/d/yyyy">
                  <c:v>41148</c:v>
                </c:pt>
                <c:pt idx="3119" formatCode="m/d/yyyy">
                  <c:v>41149</c:v>
                </c:pt>
                <c:pt idx="3120" formatCode="m/d/yyyy">
                  <c:v>41150</c:v>
                </c:pt>
                <c:pt idx="3121" formatCode="m/d/yyyy">
                  <c:v>41151</c:v>
                </c:pt>
                <c:pt idx="3122" formatCode="m/d/yyyy">
                  <c:v>41152</c:v>
                </c:pt>
                <c:pt idx="3123" formatCode="m/d/yyyy">
                  <c:v>41155</c:v>
                </c:pt>
                <c:pt idx="3124" formatCode="m/d/yyyy">
                  <c:v>41156</c:v>
                </c:pt>
                <c:pt idx="3125" formatCode="m/d/yyyy">
                  <c:v>41157</c:v>
                </c:pt>
                <c:pt idx="3126" formatCode="m/d/yyyy">
                  <c:v>41158</c:v>
                </c:pt>
                <c:pt idx="3127" formatCode="m/d/yyyy">
                  <c:v>41159</c:v>
                </c:pt>
                <c:pt idx="3128" formatCode="m/d/yyyy">
                  <c:v>41162</c:v>
                </c:pt>
                <c:pt idx="3129" formatCode="m/d/yyyy">
                  <c:v>41163</c:v>
                </c:pt>
                <c:pt idx="3130" formatCode="m/d/yyyy">
                  <c:v>41164</c:v>
                </c:pt>
                <c:pt idx="3131" formatCode="m/d/yyyy">
                  <c:v>41165</c:v>
                </c:pt>
                <c:pt idx="3132" formatCode="m/d/yyyy">
                  <c:v>41166</c:v>
                </c:pt>
                <c:pt idx="3133" formatCode="m/d/yyyy">
                  <c:v>41169</c:v>
                </c:pt>
                <c:pt idx="3134" formatCode="m/d/yyyy">
                  <c:v>41170</c:v>
                </c:pt>
                <c:pt idx="3135" formatCode="m/d/yyyy">
                  <c:v>41171</c:v>
                </c:pt>
                <c:pt idx="3136" formatCode="m/d/yyyy">
                  <c:v>41172</c:v>
                </c:pt>
                <c:pt idx="3137" formatCode="m/d/yyyy">
                  <c:v>41173</c:v>
                </c:pt>
                <c:pt idx="3138" formatCode="m/d/yyyy">
                  <c:v>41176</c:v>
                </c:pt>
                <c:pt idx="3139" formatCode="m/d/yyyy">
                  <c:v>41177</c:v>
                </c:pt>
                <c:pt idx="3140" formatCode="m/d/yyyy">
                  <c:v>41178</c:v>
                </c:pt>
                <c:pt idx="3141" formatCode="m/d/yyyy">
                  <c:v>41179</c:v>
                </c:pt>
                <c:pt idx="3142" formatCode="m/d/yyyy">
                  <c:v>41180</c:v>
                </c:pt>
                <c:pt idx="3143" formatCode="m/d/yyyy">
                  <c:v>41183</c:v>
                </c:pt>
                <c:pt idx="3144" formatCode="m/d/yyyy">
                  <c:v>41184</c:v>
                </c:pt>
                <c:pt idx="3145" formatCode="m/d/yyyy">
                  <c:v>41185</c:v>
                </c:pt>
                <c:pt idx="3146" formatCode="m/d/yyyy">
                  <c:v>41186</c:v>
                </c:pt>
                <c:pt idx="3147" formatCode="m/d/yyyy">
                  <c:v>41187</c:v>
                </c:pt>
                <c:pt idx="3148" formatCode="m/d/yyyy">
                  <c:v>41190</c:v>
                </c:pt>
                <c:pt idx="3149" formatCode="m/d/yyyy">
                  <c:v>41191</c:v>
                </c:pt>
                <c:pt idx="3150" formatCode="m/d/yyyy">
                  <c:v>41192</c:v>
                </c:pt>
                <c:pt idx="3151" formatCode="m/d/yyyy">
                  <c:v>41193</c:v>
                </c:pt>
                <c:pt idx="3152" formatCode="m/d/yyyy">
                  <c:v>41194</c:v>
                </c:pt>
                <c:pt idx="3153" formatCode="m/d/yyyy">
                  <c:v>41197</c:v>
                </c:pt>
                <c:pt idx="3154" formatCode="m/d/yyyy">
                  <c:v>41198</c:v>
                </c:pt>
                <c:pt idx="3155" formatCode="m/d/yyyy">
                  <c:v>41199</c:v>
                </c:pt>
                <c:pt idx="3156" formatCode="m/d/yyyy">
                  <c:v>41200</c:v>
                </c:pt>
                <c:pt idx="3157" formatCode="m/d/yyyy">
                  <c:v>41201</c:v>
                </c:pt>
                <c:pt idx="3158" formatCode="m/d/yyyy">
                  <c:v>41206</c:v>
                </c:pt>
                <c:pt idx="3159" formatCode="m/d/yyyy">
                  <c:v>41207</c:v>
                </c:pt>
                <c:pt idx="3160" formatCode="m/d/yyyy">
                  <c:v>41208</c:v>
                </c:pt>
                <c:pt idx="3161" formatCode="m/d/yyyy">
                  <c:v>41209</c:v>
                </c:pt>
                <c:pt idx="3162" formatCode="m/d/yyyy">
                  <c:v>41211</c:v>
                </c:pt>
                <c:pt idx="3163" formatCode="m/d/yyyy">
                  <c:v>41212</c:v>
                </c:pt>
                <c:pt idx="3164" formatCode="m/d/yyyy">
                  <c:v>41213</c:v>
                </c:pt>
                <c:pt idx="3165" formatCode="m/d/yyyy">
                  <c:v>41218</c:v>
                </c:pt>
                <c:pt idx="3166" formatCode="m/d/yyyy">
                  <c:v>41219</c:v>
                </c:pt>
                <c:pt idx="3167" formatCode="m/d/yyyy">
                  <c:v>41220</c:v>
                </c:pt>
                <c:pt idx="3168" formatCode="m/d/yyyy">
                  <c:v>41221</c:v>
                </c:pt>
                <c:pt idx="3169" formatCode="m/d/yyyy">
                  <c:v>41222</c:v>
                </c:pt>
                <c:pt idx="3170" formatCode="m/d/yyyy">
                  <c:v>41223</c:v>
                </c:pt>
                <c:pt idx="3171" formatCode="m/d/yyyy">
                  <c:v>41225</c:v>
                </c:pt>
                <c:pt idx="3172" formatCode="m/d/yyyy">
                  <c:v>41226</c:v>
                </c:pt>
                <c:pt idx="3173" formatCode="m/d/yyyy">
                  <c:v>41227</c:v>
                </c:pt>
                <c:pt idx="3174" formatCode="m/d/yyyy">
                  <c:v>41228</c:v>
                </c:pt>
                <c:pt idx="3175" formatCode="m/d/yyyy">
                  <c:v>41229</c:v>
                </c:pt>
                <c:pt idx="3176" formatCode="m/d/yyyy">
                  <c:v>41232</c:v>
                </c:pt>
                <c:pt idx="3177" formatCode="m/d/yyyy">
                  <c:v>41233</c:v>
                </c:pt>
                <c:pt idx="3178" formatCode="m/d/yyyy">
                  <c:v>41234</c:v>
                </c:pt>
                <c:pt idx="3179" formatCode="m/d/yyyy">
                  <c:v>41235</c:v>
                </c:pt>
                <c:pt idx="3180" formatCode="m/d/yyyy">
                  <c:v>41236</c:v>
                </c:pt>
                <c:pt idx="3181" formatCode="m/d/yyyy">
                  <c:v>41239</c:v>
                </c:pt>
                <c:pt idx="3182" formatCode="m/d/yyyy">
                  <c:v>41240</c:v>
                </c:pt>
                <c:pt idx="3183" formatCode="m/d/yyyy">
                  <c:v>41241</c:v>
                </c:pt>
                <c:pt idx="3184" formatCode="m/d/yyyy">
                  <c:v>41242</c:v>
                </c:pt>
                <c:pt idx="3185" formatCode="m/d/yyyy">
                  <c:v>41243</c:v>
                </c:pt>
                <c:pt idx="3186" formatCode="m/d/yyyy">
                  <c:v>41244</c:v>
                </c:pt>
                <c:pt idx="3187" formatCode="m/d/yyyy">
                  <c:v>41246</c:v>
                </c:pt>
                <c:pt idx="3188" formatCode="m/d/yyyy">
                  <c:v>41247</c:v>
                </c:pt>
                <c:pt idx="3189" formatCode="m/d/yyyy">
                  <c:v>41248</c:v>
                </c:pt>
                <c:pt idx="3190" formatCode="m/d/yyyy">
                  <c:v>41249</c:v>
                </c:pt>
                <c:pt idx="3191" formatCode="m/d/yyyy">
                  <c:v>41250</c:v>
                </c:pt>
                <c:pt idx="3192" formatCode="m/d/yyyy">
                  <c:v>41253</c:v>
                </c:pt>
                <c:pt idx="3193" formatCode="m/d/yyyy">
                  <c:v>41254</c:v>
                </c:pt>
                <c:pt idx="3194" formatCode="m/d/yyyy">
                  <c:v>41255</c:v>
                </c:pt>
                <c:pt idx="3195" formatCode="m/d/yyyy">
                  <c:v>41256</c:v>
                </c:pt>
                <c:pt idx="3196" formatCode="m/d/yyyy">
                  <c:v>41257</c:v>
                </c:pt>
                <c:pt idx="3197" formatCode="m/d/yyyy">
                  <c:v>41258</c:v>
                </c:pt>
                <c:pt idx="3198" formatCode="m/d/yyyy">
                  <c:v>41260</c:v>
                </c:pt>
                <c:pt idx="3199" formatCode="m/d/yyyy">
                  <c:v>41261</c:v>
                </c:pt>
                <c:pt idx="3200" formatCode="m/d/yyyy">
                  <c:v>41262</c:v>
                </c:pt>
                <c:pt idx="3201" formatCode="m/d/yyyy">
                  <c:v>41263</c:v>
                </c:pt>
                <c:pt idx="3202" formatCode="m/d/yyyy">
                  <c:v>41264</c:v>
                </c:pt>
                <c:pt idx="3203" formatCode="m/d/yyyy">
                  <c:v>41270</c:v>
                </c:pt>
                <c:pt idx="3204" formatCode="m/d/yyyy">
                  <c:v>41271</c:v>
                </c:pt>
                <c:pt idx="3205" formatCode="m/d/yyyy">
                  <c:v>41276</c:v>
                </c:pt>
                <c:pt idx="3206" formatCode="m/d/yyyy">
                  <c:v>41277</c:v>
                </c:pt>
                <c:pt idx="3207" formatCode="m/d/yyyy">
                  <c:v>41278</c:v>
                </c:pt>
                <c:pt idx="3208" formatCode="m/d/yyyy">
                  <c:v>41281</c:v>
                </c:pt>
                <c:pt idx="3209" formatCode="m/d/yyyy">
                  <c:v>41282</c:v>
                </c:pt>
                <c:pt idx="3210" formatCode="m/d/yyyy">
                  <c:v>41283</c:v>
                </c:pt>
                <c:pt idx="3211" formatCode="m/d/yyyy">
                  <c:v>41284</c:v>
                </c:pt>
                <c:pt idx="3212" formatCode="m/d/yyyy">
                  <c:v>41285</c:v>
                </c:pt>
                <c:pt idx="3213" formatCode="m/d/yyyy">
                  <c:v>41288</c:v>
                </c:pt>
                <c:pt idx="3214" formatCode="m/d/yyyy">
                  <c:v>41289</c:v>
                </c:pt>
                <c:pt idx="3215" formatCode="m/d/yyyy">
                  <c:v>41290</c:v>
                </c:pt>
                <c:pt idx="3216" formatCode="m/d/yyyy">
                  <c:v>41291</c:v>
                </c:pt>
                <c:pt idx="3217" formatCode="m/d/yyyy">
                  <c:v>41292</c:v>
                </c:pt>
                <c:pt idx="3218" formatCode="m/d/yyyy">
                  <c:v>41295</c:v>
                </c:pt>
                <c:pt idx="3219" formatCode="m/d/yyyy">
                  <c:v>41296</c:v>
                </c:pt>
                <c:pt idx="3220" formatCode="m/d/yyyy">
                  <c:v>41297</c:v>
                </c:pt>
                <c:pt idx="3221" formatCode="m/d/yyyy">
                  <c:v>41298</c:v>
                </c:pt>
                <c:pt idx="3222" formatCode="m/d/yyyy">
                  <c:v>41299</c:v>
                </c:pt>
                <c:pt idx="3223" formatCode="m/d/yyyy">
                  <c:v>41302</c:v>
                </c:pt>
                <c:pt idx="3224" formatCode="m/d/yyyy">
                  <c:v>41303</c:v>
                </c:pt>
                <c:pt idx="3225" formatCode="m/d/yyyy">
                  <c:v>41304</c:v>
                </c:pt>
                <c:pt idx="3226" formatCode="m/d/yyyy">
                  <c:v>41305</c:v>
                </c:pt>
                <c:pt idx="3227" formatCode="m/d/yyyy">
                  <c:v>41306</c:v>
                </c:pt>
                <c:pt idx="3228" formatCode="m/d/yyyy">
                  <c:v>41309</c:v>
                </c:pt>
                <c:pt idx="3229" formatCode="m/d/yyyy">
                  <c:v>41310</c:v>
                </c:pt>
                <c:pt idx="3230" formatCode="m/d/yyyy">
                  <c:v>41311</c:v>
                </c:pt>
                <c:pt idx="3231" formatCode="m/d/yyyy">
                  <c:v>41312</c:v>
                </c:pt>
                <c:pt idx="3232" formatCode="m/d/yyyy">
                  <c:v>41313</c:v>
                </c:pt>
                <c:pt idx="3233" formatCode="m/d/yyyy">
                  <c:v>41316</c:v>
                </c:pt>
                <c:pt idx="3234" formatCode="m/d/yyyy">
                  <c:v>41317</c:v>
                </c:pt>
                <c:pt idx="3235" formatCode="m/d/yyyy">
                  <c:v>41318</c:v>
                </c:pt>
                <c:pt idx="3236" formatCode="m/d/yyyy">
                  <c:v>41319</c:v>
                </c:pt>
                <c:pt idx="3237" formatCode="m/d/yyyy">
                  <c:v>41320</c:v>
                </c:pt>
                <c:pt idx="3238" formatCode="m/d/yyyy">
                  <c:v>41323</c:v>
                </c:pt>
                <c:pt idx="3239" formatCode="m/d/yyyy">
                  <c:v>41324</c:v>
                </c:pt>
                <c:pt idx="3240" formatCode="m/d/yyyy">
                  <c:v>41325</c:v>
                </c:pt>
                <c:pt idx="3241" formatCode="m/d/yyyy">
                  <c:v>41326</c:v>
                </c:pt>
                <c:pt idx="3242" formatCode="m/d/yyyy">
                  <c:v>41327</c:v>
                </c:pt>
                <c:pt idx="3243" formatCode="m/d/yyyy">
                  <c:v>41330</c:v>
                </c:pt>
                <c:pt idx="3244" formatCode="m/d/yyyy">
                  <c:v>41331</c:v>
                </c:pt>
                <c:pt idx="3245" formatCode="m/d/yyyy">
                  <c:v>41332</c:v>
                </c:pt>
                <c:pt idx="3246" formatCode="m/d/yyyy">
                  <c:v>41333</c:v>
                </c:pt>
                <c:pt idx="3247" formatCode="m/d/yyyy">
                  <c:v>41334</c:v>
                </c:pt>
                <c:pt idx="3248" formatCode="m/d/yyyy">
                  <c:v>41337</c:v>
                </c:pt>
                <c:pt idx="3249" formatCode="m/d/yyyy">
                  <c:v>41338</c:v>
                </c:pt>
                <c:pt idx="3250" formatCode="m/d/yyyy">
                  <c:v>41339</c:v>
                </c:pt>
                <c:pt idx="3251" formatCode="m/d/yyyy">
                  <c:v>41340</c:v>
                </c:pt>
                <c:pt idx="3252" formatCode="m/d/yyyy">
                  <c:v>41341</c:v>
                </c:pt>
                <c:pt idx="3253" formatCode="m/d/yyyy">
                  <c:v>41344</c:v>
                </c:pt>
                <c:pt idx="3254" formatCode="m/d/yyyy">
                  <c:v>41345</c:v>
                </c:pt>
                <c:pt idx="3255" formatCode="m/d/yyyy">
                  <c:v>41346</c:v>
                </c:pt>
                <c:pt idx="3256" formatCode="m/d/yyyy">
                  <c:v>41347</c:v>
                </c:pt>
                <c:pt idx="3257" formatCode="m/d/yyyy">
                  <c:v>41351</c:v>
                </c:pt>
                <c:pt idx="3258" formatCode="m/d/yyyy">
                  <c:v>41352</c:v>
                </c:pt>
                <c:pt idx="3259" formatCode="m/d/yyyy">
                  <c:v>41353</c:v>
                </c:pt>
                <c:pt idx="3260" formatCode="m/d/yyyy">
                  <c:v>41354</c:v>
                </c:pt>
                <c:pt idx="3261" formatCode="m/d/yyyy">
                  <c:v>41355</c:v>
                </c:pt>
                <c:pt idx="3262" formatCode="m/d/yyyy">
                  <c:v>41358</c:v>
                </c:pt>
                <c:pt idx="3263" formatCode="m/d/yyyy">
                  <c:v>41359</c:v>
                </c:pt>
                <c:pt idx="3264" formatCode="m/d/yyyy">
                  <c:v>41360</c:v>
                </c:pt>
                <c:pt idx="3265" formatCode="m/d/yyyy">
                  <c:v>41361</c:v>
                </c:pt>
                <c:pt idx="3266" formatCode="m/d/yyyy">
                  <c:v>41362</c:v>
                </c:pt>
                <c:pt idx="3267" formatCode="m/d/yyyy">
                  <c:v>41366</c:v>
                </c:pt>
                <c:pt idx="3268" formatCode="m/d/yyyy">
                  <c:v>41367</c:v>
                </c:pt>
                <c:pt idx="3269" formatCode="m/d/yyyy">
                  <c:v>41368</c:v>
                </c:pt>
                <c:pt idx="3270" formatCode="m/d/yyyy">
                  <c:v>41369</c:v>
                </c:pt>
                <c:pt idx="3271" formatCode="m/d/yyyy">
                  <c:v>41372</c:v>
                </c:pt>
                <c:pt idx="3272" formatCode="m/d/yyyy">
                  <c:v>41373</c:v>
                </c:pt>
                <c:pt idx="3273" formatCode="m/d/yyyy">
                  <c:v>41374</c:v>
                </c:pt>
                <c:pt idx="3274" formatCode="m/d/yyyy">
                  <c:v>41375</c:v>
                </c:pt>
                <c:pt idx="3275" formatCode="m/d/yyyy">
                  <c:v>41376</c:v>
                </c:pt>
                <c:pt idx="3276" formatCode="m/d/yyyy">
                  <c:v>41379</c:v>
                </c:pt>
                <c:pt idx="3277" formatCode="m/d/yyyy">
                  <c:v>41380</c:v>
                </c:pt>
                <c:pt idx="3278" formatCode="m/d/yyyy">
                  <c:v>41381</c:v>
                </c:pt>
                <c:pt idx="3279" formatCode="m/d/yyyy">
                  <c:v>41382</c:v>
                </c:pt>
                <c:pt idx="3280" formatCode="m/d/yyyy">
                  <c:v>41383</c:v>
                </c:pt>
                <c:pt idx="3281" formatCode="m/d/yyyy">
                  <c:v>41386</c:v>
                </c:pt>
                <c:pt idx="3282" formatCode="m/d/yyyy">
                  <c:v>41387</c:v>
                </c:pt>
                <c:pt idx="3283" formatCode="m/d/yyyy">
                  <c:v>41388</c:v>
                </c:pt>
                <c:pt idx="3284" formatCode="m/d/yyyy">
                  <c:v>41389</c:v>
                </c:pt>
                <c:pt idx="3285" formatCode="m/d/yyyy">
                  <c:v>41390</c:v>
                </c:pt>
                <c:pt idx="3286" formatCode="m/d/yyyy">
                  <c:v>41393</c:v>
                </c:pt>
                <c:pt idx="3287" formatCode="m/d/yyyy">
                  <c:v>41394</c:v>
                </c:pt>
                <c:pt idx="3288" formatCode="m/d/yyyy">
                  <c:v>41396</c:v>
                </c:pt>
                <c:pt idx="3289" formatCode="m/d/yyyy">
                  <c:v>41397</c:v>
                </c:pt>
                <c:pt idx="3290" formatCode="m/d/yyyy">
                  <c:v>41400</c:v>
                </c:pt>
                <c:pt idx="3291" formatCode="m/d/yyyy">
                  <c:v>41401</c:v>
                </c:pt>
                <c:pt idx="3292" formatCode="m/d/yyyy">
                  <c:v>41402</c:v>
                </c:pt>
                <c:pt idx="3293" formatCode="m/d/yyyy">
                  <c:v>41403</c:v>
                </c:pt>
                <c:pt idx="3294" formatCode="m/d/yyyy">
                  <c:v>41404</c:v>
                </c:pt>
                <c:pt idx="3295" formatCode="m/d/yyyy">
                  <c:v>41407</c:v>
                </c:pt>
                <c:pt idx="3296" formatCode="m/d/yyyy">
                  <c:v>41408</c:v>
                </c:pt>
                <c:pt idx="3297" formatCode="m/d/yyyy">
                  <c:v>41409</c:v>
                </c:pt>
                <c:pt idx="3298" formatCode="m/d/yyyy">
                  <c:v>41410</c:v>
                </c:pt>
                <c:pt idx="3299" formatCode="m/d/yyyy">
                  <c:v>41411</c:v>
                </c:pt>
                <c:pt idx="3300" formatCode="m/d/yyyy">
                  <c:v>41415</c:v>
                </c:pt>
                <c:pt idx="3301" formatCode="m/d/yyyy">
                  <c:v>41416</c:v>
                </c:pt>
                <c:pt idx="3302" formatCode="m/d/yyyy">
                  <c:v>41417</c:v>
                </c:pt>
                <c:pt idx="3303" formatCode="m/d/yyyy">
                  <c:v>41418</c:v>
                </c:pt>
                <c:pt idx="3304" formatCode="m/d/yyyy">
                  <c:v>41421</c:v>
                </c:pt>
                <c:pt idx="3305" formatCode="m/d/yyyy">
                  <c:v>41422</c:v>
                </c:pt>
                <c:pt idx="3306" formatCode="m/d/yyyy">
                  <c:v>41423</c:v>
                </c:pt>
                <c:pt idx="3307" formatCode="m/d/yyyy">
                  <c:v>41424</c:v>
                </c:pt>
                <c:pt idx="3308" formatCode="m/d/yyyy">
                  <c:v>41425</c:v>
                </c:pt>
                <c:pt idx="3309" formatCode="m/d/yyyy">
                  <c:v>41428</c:v>
                </c:pt>
                <c:pt idx="3310" formatCode="m/d/yyyy">
                  <c:v>41429</c:v>
                </c:pt>
                <c:pt idx="3311" formatCode="m/d/yyyy">
                  <c:v>41430</c:v>
                </c:pt>
                <c:pt idx="3312" formatCode="m/d/yyyy">
                  <c:v>41431</c:v>
                </c:pt>
                <c:pt idx="3313" formatCode="m/d/yyyy">
                  <c:v>41432</c:v>
                </c:pt>
                <c:pt idx="3314" formatCode="m/d/yyyy">
                  <c:v>41435</c:v>
                </c:pt>
                <c:pt idx="3315" formatCode="m/d/yyyy">
                  <c:v>41436</c:v>
                </c:pt>
                <c:pt idx="3316" formatCode="m/d/yyyy">
                  <c:v>41437</c:v>
                </c:pt>
                <c:pt idx="3317" formatCode="m/d/yyyy">
                  <c:v>41438</c:v>
                </c:pt>
                <c:pt idx="3318" formatCode="m/d/yyyy">
                  <c:v>41439</c:v>
                </c:pt>
                <c:pt idx="3319" formatCode="m/d/yyyy">
                  <c:v>41442</c:v>
                </c:pt>
                <c:pt idx="3320" formatCode="m/d/yyyy">
                  <c:v>41443</c:v>
                </c:pt>
                <c:pt idx="3321" formatCode="m/d/yyyy">
                  <c:v>41444</c:v>
                </c:pt>
                <c:pt idx="3322" formatCode="m/d/yyyy">
                  <c:v>41445</c:v>
                </c:pt>
                <c:pt idx="3323" formatCode="m/d/yyyy">
                  <c:v>41446</c:v>
                </c:pt>
                <c:pt idx="3324" formatCode="m/d/yyyy">
                  <c:v>41449</c:v>
                </c:pt>
                <c:pt idx="3325" formatCode="m/d/yyyy">
                  <c:v>41450</c:v>
                </c:pt>
                <c:pt idx="3326" formatCode="m/d/yyyy">
                  <c:v>41451</c:v>
                </c:pt>
                <c:pt idx="3327" formatCode="m/d/yyyy">
                  <c:v>41452</c:v>
                </c:pt>
                <c:pt idx="3328" formatCode="m/d/yyyy">
                  <c:v>41453</c:v>
                </c:pt>
                <c:pt idx="3329" formatCode="m/d/yyyy">
                  <c:v>41456</c:v>
                </c:pt>
                <c:pt idx="3330" formatCode="m/d/yyyy">
                  <c:v>41457</c:v>
                </c:pt>
                <c:pt idx="3331" formatCode="m/d/yyyy">
                  <c:v>41458</c:v>
                </c:pt>
                <c:pt idx="3332" formatCode="m/d/yyyy">
                  <c:v>41459</c:v>
                </c:pt>
                <c:pt idx="3333" formatCode="m/d/yyyy">
                  <c:v>41460</c:v>
                </c:pt>
                <c:pt idx="3334" formatCode="m/d/yyyy">
                  <c:v>41463</c:v>
                </c:pt>
                <c:pt idx="3335" formatCode="m/d/yyyy">
                  <c:v>41464</c:v>
                </c:pt>
                <c:pt idx="3336" formatCode="m/d/yyyy">
                  <c:v>41465</c:v>
                </c:pt>
                <c:pt idx="3337" formatCode="m/d/yyyy">
                  <c:v>41466</c:v>
                </c:pt>
                <c:pt idx="3338" formatCode="m/d/yyyy">
                  <c:v>41467</c:v>
                </c:pt>
                <c:pt idx="3339" formatCode="m/d/yyyy">
                  <c:v>41470</c:v>
                </c:pt>
                <c:pt idx="3340" formatCode="m/d/yyyy">
                  <c:v>41471</c:v>
                </c:pt>
                <c:pt idx="3341" formatCode="m/d/yyyy">
                  <c:v>41472</c:v>
                </c:pt>
                <c:pt idx="3342" formatCode="m/d/yyyy">
                  <c:v>41473</c:v>
                </c:pt>
                <c:pt idx="3343" formatCode="m/d/yyyy">
                  <c:v>41474</c:v>
                </c:pt>
                <c:pt idx="3344" formatCode="m/d/yyyy">
                  <c:v>41477</c:v>
                </c:pt>
                <c:pt idx="3345" formatCode="m/d/yyyy">
                  <c:v>41478</c:v>
                </c:pt>
                <c:pt idx="3346" formatCode="m/d/yyyy">
                  <c:v>41479</c:v>
                </c:pt>
                <c:pt idx="3347" formatCode="m/d/yyyy">
                  <c:v>41480</c:v>
                </c:pt>
                <c:pt idx="3348" formatCode="m/d/yyyy">
                  <c:v>41481</c:v>
                </c:pt>
                <c:pt idx="3349" formatCode="m/d/yyyy">
                  <c:v>41484</c:v>
                </c:pt>
                <c:pt idx="3350" formatCode="m/d/yyyy">
                  <c:v>41485</c:v>
                </c:pt>
                <c:pt idx="3351" formatCode="m/d/yyyy">
                  <c:v>41486</c:v>
                </c:pt>
                <c:pt idx="3352" formatCode="m/d/yyyy">
                  <c:v>41487</c:v>
                </c:pt>
                <c:pt idx="3353" formatCode="m/d/yyyy">
                  <c:v>41488</c:v>
                </c:pt>
                <c:pt idx="3354" formatCode="m/d/yyyy">
                  <c:v>41491</c:v>
                </c:pt>
                <c:pt idx="3355" formatCode="m/d/yyyy">
                  <c:v>41492</c:v>
                </c:pt>
                <c:pt idx="3356" formatCode="m/d/yyyy">
                  <c:v>41493</c:v>
                </c:pt>
                <c:pt idx="3357" formatCode="m/d/yyyy">
                  <c:v>41494</c:v>
                </c:pt>
                <c:pt idx="3358" formatCode="m/d/yyyy">
                  <c:v>41495</c:v>
                </c:pt>
                <c:pt idx="3359" formatCode="m/d/yyyy">
                  <c:v>41498</c:v>
                </c:pt>
                <c:pt idx="3360" formatCode="m/d/yyyy">
                  <c:v>41499</c:v>
                </c:pt>
                <c:pt idx="3361" formatCode="m/d/yyyy">
                  <c:v>41500</c:v>
                </c:pt>
                <c:pt idx="3362" formatCode="m/d/yyyy">
                  <c:v>41501</c:v>
                </c:pt>
                <c:pt idx="3363" formatCode="m/d/yyyy">
                  <c:v>41502</c:v>
                </c:pt>
                <c:pt idx="3364" formatCode="m/d/yyyy">
                  <c:v>41507</c:v>
                </c:pt>
                <c:pt idx="3365" formatCode="m/d/yyyy">
                  <c:v>41508</c:v>
                </c:pt>
                <c:pt idx="3366" formatCode="m/d/yyyy">
                  <c:v>41509</c:v>
                </c:pt>
                <c:pt idx="3367" formatCode="m/d/yyyy">
                  <c:v>41510</c:v>
                </c:pt>
                <c:pt idx="3368" formatCode="m/d/yyyy">
                  <c:v>41512</c:v>
                </c:pt>
                <c:pt idx="3369" formatCode="m/d/yyyy">
                  <c:v>41513</c:v>
                </c:pt>
                <c:pt idx="3370" formatCode="m/d/yyyy">
                  <c:v>41514</c:v>
                </c:pt>
                <c:pt idx="3371" formatCode="m/d/yyyy">
                  <c:v>41515</c:v>
                </c:pt>
                <c:pt idx="3372" formatCode="m/d/yyyy">
                  <c:v>41516</c:v>
                </c:pt>
                <c:pt idx="3373" formatCode="m/d/yyyy">
                  <c:v>41519</c:v>
                </c:pt>
                <c:pt idx="3374" formatCode="m/d/yyyy">
                  <c:v>41520</c:v>
                </c:pt>
                <c:pt idx="3375" formatCode="m/d/yyyy">
                  <c:v>41521</c:v>
                </c:pt>
                <c:pt idx="3376" formatCode="m/d/yyyy">
                  <c:v>41522</c:v>
                </c:pt>
                <c:pt idx="3377" formatCode="m/d/yyyy">
                  <c:v>41523</c:v>
                </c:pt>
                <c:pt idx="3378" formatCode="m/d/yyyy">
                  <c:v>41526</c:v>
                </c:pt>
                <c:pt idx="3379" formatCode="m/d/yyyy">
                  <c:v>41527</c:v>
                </c:pt>
                <c:pt idx="3380" formatCode="m/d/yyyy">
                  <c:v>41528</c:v>
                </c:pt>
                <c:pt idx="3381" formatCode="m/d/yyyy">
                  <c:v>41529</c:v>
                </c:pt>
                <c:pt idx="3382" formatCode="m/d/yyyy">
                  <c:v>41530</c:v>
                </c:pt>
                <c:pt idx="3383" formatCode="m/d/yyyy">
                  <c:v>41533</c:v>
                </c:pt>
                <c:pt idx="3384" formatCode="m/d/yyyy">
                  <c:v>41534</c:v>
                </c:pt>
                <c:pt idx="3385" formatCode="m/d/yyyy">
                  <c:v>41535</c:v>
                </c:pt>
                <c:pt idx="3386" formatCode="m/d/yyyy">
                  <c:v>41536</c:v>
                </c:pt>
                <c:pt idx="3387" formatCode="m/d/yyyy">
                  <c:v>41537</c:v>
                </c:pt>
                <c:pt idx="3388" formatCode="m/d/yyyy">
                  <c:v>41540</c:v>
                </c:pt>
                <c:pt idx="3389" formatCode="m/d/yyyy">
                  <c:v>41541</c:v>
                </c:pt>
                <c:pt idx="3390" formatCode="m/d/yyyy">
                  <c:v>41542</c:v>
                </c:pt>
                <c:pt idx="3391" formatCode="m/d/yyyy">
                  <c:v>41543</c:v>
                </c:pt>
                <c:pt idx="3392" formatCode="m/d/yyyy">
                  <c:v>41544</c:v>
                </c:pt>
                <c:pt idx="3393" formatCode="m/d/yyyy">
                  <c:v>41547</c:v>
                </c:pt>
                <c:pt idx="3394" formatCode="m/d/yyyy">
                  <c:v>41548</c:v>
                </c:pt>
                <c:pt idx="3395" formatCode="m/d/yyyy">
                  <c:v>41549</c:v>
                </c:pt>
                <c:pt idx="3396" formatCode="m/d/yyyy">
                  <c:v>41550</c:v>
                </c:pt>
                <c:pt idx="3397" formatCode="m/d/yyyy">
                  <c:v>41551</c:v>
                </c:pt>
                <c:pt idx="3398" formatCode="m/d/yyyy">
                  <c:v>41554</c:v>
                </c:pt>
                <c:pt idx="3399" formatCode="m/d/yyyy">
                  <c:v>41555</c:v>
                </c:pt>
                <c:pt idx="3400" formatCode="m/d/yyyy">
                  <c:v>41556</c:v>
                </c:pt>
                <c:pt idx="3401" formatCode="m/d/yyyy">
                  <c:v>41557</c:v>
                </c:pt>
                <c:pt idx="3402" formatCode="m/d/yyyy">
                  <c:v>41558</c:v>
                </c:pt>
                <c:pt idx="3403" formatCode="m/d/yyyy">
                  <c:v>41561</c:v>
                </c:pt>
                <c:pt idx="3404" formatCode="m/d/yyyy">
                  <c:v>41562</c:v>
                </c:pt>
                <c:pt idx="3405" formatCode="m/d/yyyy">
                  <c:v>41563</c:v>
                </c:pt>
                <c:pt idx="3406" formatCode="m/d/yyyy">
                  <c:v>41564</c:v>
                </c:pt>
                <c:pt idx="3407" formatCode="m/d/yyyy">
                  <c:v>41565</c:v>
                </c:pt>
                <c:pt idx="3408" formatCode="m/d/yyyy">
                  <c:v>41568</c:v>
                </c:pt>
                <c:pt idx="3409" formatCode="m/d/yyyy">
                  <c:v>41569</c:v>
                </c:pt>
                <c:pt idx="3410" formatCode="m/d/yyyy">
                  <c:v>41571</c:v>
                </c:pt>
                <c:pt idx="3411" formatCode="m/d/yyyy">
                  <c:v>41572</c:v>
                </c:pt>
                <c:pt idx="3412" formatCode="m/d/yyyy">
                  <c:v>41575</c:v>
                </c:pt>
                <c:pt idx="3413" formatCode="m/d/yyyy">
                  <c:v>41576</c:v>
                </c:pt>
                <c:pt idx="3414" formatCode="m/d/yyyy">
                  <c:v>41577</c:v>
                </c:pt>
                <c:pt idx="3415" formatCode="m/d/yyyy">
                  <c:v>41578</c:v>
                </c:pt>
                <c:pt idx="3416" formatCode="m/d/yyyy">
                  <c:v>41582</c:v>
                </c:pt>
                <c:pt idx="3417" formatCode="m/d/yyyy">
                  <c:v>41583</c:v>
                </c:pt>
                <c:pt idx="3418" formatCode="m/d/yyyy">
                  <c:v>41584</c:v>
                </c:pt>
                <c:pt idx="3419" formatCode="m/d/yyyy">
                  <c:v>41585</c:v>
                </c:pt>
                <c:pt idx="3420" formatCode="m/d/yyyy">
                  <c:v>41586</c:v>
                </c:pt>
                <c:pt idx="3421" formatCode="m/d/yyyy">
                  <c:v>41589</c:v>
                </c:pt>
                <c:pt idx="3422" formatCode="m/d/yyyy">
                  <c:v>41590</c:v>
                </c:pt>
                <c:pt idx="3423" formatCode="m/d/yyyy">
                  <c:v>41591</c:v>
                </c:pt>
                <c:pt idx="3424" formatCode="m/d/yyyy">
                  <c:v>41592</c:v>
                </c:pt>
                <c:pt idx="3425" formatCode="m/d/yyyy">
                  <c:v>41593</c:v>
                </c:pt>
                <c:pt idx="3426" formatCode="m/d/yyyy">
                  <c:v>41596</c:v>
                </c:pt>
                <c:pt idx="3427" formatCode="m/d/yyyy">
                  <c:v>41597</c:v>
                </c:pt>
                <c:pt idx="3428" formatCode="m/d/yyyy">
                  <c:v>41598</c:v>
                </c:pt>
                <c:pt idx="3429" formatCode="m/d/yyyy">
                  <c:v>41599</c:v>
                </c:pt>
                <c:pt idx="3430" formatCode="m/d/yyyy">
                  <c:v>41600</c:v>
                </c:pt>
                <c:pt idx="3431" formatCode="m/d/yyyy">
                  <c:v>41603</c:v>
                </c:pt>
                <c:pt idx="3432" formatCode="m/d/yyyy">
                  <c:v>41604</c:v>
                </c:pt>
                <c:pt idx="3433" formatCode="m/d/yyyy">
                  <c:v>41605</c:v>
                </c:pt>
                <c:pt idx="3434" formatCode="m/d/yyyy">
                  <c:v>41606</c:v>
                </c:pt>
                <c:pt idx="3435" formatCode="m/d/yyyy">
                  <c:v>41607</c:v>
                </c:pt>
                <c:pt idx="3436" formatCode="m/d/yyyy">
                  <c:v>41610</c:v>
                </c:pt>
                <c:pt idx="3437" formatCode="m/d/yyyy">
                  <c:v>41611</c:v>
                </c:pt>
                <c:pt idx="3438" formatCode="m/d/yyyy">
                  <c:v>41612</c:v>
                </c:pt>
                <c:pt idx="3439" formatCode="m/d/yyyy">
                  <c:v>41613</c:v>
                </c:pt>
                <c:pt idx="3440" formatCode="m/d/yyyy">
                  <c:v>41614</c:v>
                </c:pt>
                <c:pt idx="3441" formatCode="m/d/yyyy">
                  <c:v>41615</c:v>
                </c:pt>
                <c:pt idx="3442" formatCode="m/d/yyyy">
                  <c:v>41617</c:v>
                </c:pt>
                <c:pt idx="3443" formatCode="m/d/yyyy">
                  <c:v>41618</c:v>
                </c:pt>
                <c:pt idx="3444" formatCode="m/d/yyyy">
                  <c:v>41619</c:v>
                </c:pt>
                <c:pt idx="3445" formatCode="m/d/yyyy">
                  <c:v>41620</c:v>
                </c:pt>
                <c:pt idx="3446" formatCode="m/d/yyyy">
                  <c:v>41621</c:v>
                </c:pt>
                <c:pt idx="3447" formatCode="m/d/yyyy">
                  <c:v>41624</c:v>
                </c:pt>
                <c:pt idx="3448" formatCode="m/d/yyyy">
                  <c:v>41625</c:v>
                </c:pt>
                <c:pt idx="3449" formatCode="m/d/yyyy">
                  <c:v>41626</c:v>
                </c:pt>
                <c:pt idx="3450" formatCode="m/d/yyyy">
                  <c:v>41627</c:v>
                </c:pt>
                <c:pt idx="3451" formatCode="m/d/yyyy">
                  <c:v>41628</c:v>
                </c:pt>
                <c:pt idx="3452" formatCode="m/d/yyyy">
                  <c:v>41629</c:v>
                </c:pt>
                <c:pt idx="3453" formatCode="m/d/yyyy">
                  <c:v>41631</c:v>
                </c:pt>
                <c:pt idx="3454" formatCode="m/d/yyyy">
                  <c:v>41638</c:v>
                </c:pt>
                <c:pt idx="3455" formatCode="m/d/yyyy">
                  <c:v>41639</c:v>
                </c:pt>
                <c:pt idx="3456" formatCode="m/d/yyyy">
                  <c:v>41641</c:v>
                </c:pt>
                <c:pt idx="3457" formatCode="m/d/yyyy">
                  <c:v>41642</c:v>
                </c:pt>
                <c:pt idx="3458" formatCode="m/d/yyyy">
                  <c:v>41645</c:v>
                </c:pt>
                <c:pt idx="3459" formatCode="m/d/yyyy">
                  <c:v>41646</c:v>
                </c:pt>
                <c:pt idx="3460" formatCode="m/d/yyyy">
                  <c:v>41647</c:v>
                </c:pt>
                <c:pt idx="3461" formatCode="m/d/yyyy">
                  <c:v>41648</c:v>
                </c:pt>
                <c:pt idx="3462" formatCode="m/d/yyyy">
                  <c:v>41649</c:v>
                </c:pt>
                <c:pt idx="3463" formatCode="m/d/yyyy">
                  <c:v>41652</c:v>
                </c:pt>
                <c:pt idx="3464" formatCode="m/d/yyyy">
                  <c:v>41653</c:v>
                </c:pt>
                <c:pt idx="3465" formatCode="m/d/yyyy">
                  <c:v>41654</c:v>
                </c:pt>
                <c:pt idx="3466" formatCode="m/d/yyyy">
                  <c:v>41655</c:v>
                </c:pt>
                <c:pt idx="3467" formatCode="m/d/yyyy">
                  <c:v>41656</c:v>
                </c:pt>
                <c:pt idx="3468" formatCode="m/d/yyyy">
                  <c:v>41659</c:v>
                </c:pt>
                <c:pt idx="3469" formatCode="m/d/yyyy">
                  <c:v>41660</c:v>
                </c:pt>
                <c:pt idx="3470" formatCode="m/d/yyyy">
                  <c:v>41661</c:v>
                </c:pt>
                <c:pt idx="3471" formatCode="m/d/yyyy">
                  <c:v>41662</c:v>
                </c:pt>
                <c:pt idx="3472" formatCode="m/d/yyyy">
                  <c:v>41663</c:v>
                </c:pt>
                <c:pt idx="3473" formatCode="m/d/yyyy">
                  <c:v>41666</c:v>
                </c:pt>
                <c:pt idx="3474" formatCode="m/d/yyyy">
                  <c:v>41667</c:v>
                </c:pt>
                <c:pt idx="3475" formatCode="m/d/yyyy">
                  <c:v>41668</c:v>
                </c:pt>
                <c:pt idx="3476" formatCode="m/d/yyyy">
                  <c:v>41669</c:v>
                </c:pt>
                <c:pt idx="3477" formatCode="m/d/yyyy">
                  <c:v>41670</c:v>
                </c:pt>
                <c:pt idx="3478" formatCode="m/d/yyyy">
                  <c:v>41673</c:v>
                </c:pt>
                <c:pt idx="3479" formatCode="m/d/yyyy">
                  <c:v>41674</c:v>
                </c:pt>
                <c:pt idx="3480" formatCode="m/d/yyyy">
                  <c:v>41675</c:v>
                </c:pt>
                <c:pt idx="3481" formatCode="m/d/yyyy">
                  <c:v>41676</c:v>
                </c:pt>
                <c:pt idx="3482" formatCode="m/d/yyyy">
                  <c:v>41677</c:v>
                </c:pt>
                <c:pt idx="3483" formatCode="m/d/yyyy">
                  <c:v>41680</c:v>
                </c:pt>
                <c:pt idx="3484" formatCode="m/d/yyyy">
                  <c:v>41681</c:v>
                </c:pt>
                <c:pt idx="3485" formatCode="m/d/yyyy">
                  <c:v>41682</c:v>
                </c:pt>
                <c:pt idx="3486" formatCode="m/d/yyyy">
                  <c:v>41683</c:v>
                </c:pt>
                <c:pt idx="3487" formatCode="m/d/yyyy">
                  <c:v>41684</c:v>
                </c:pt>
                <c:pt idx="3488" formatCode="m/d/yyyy">
                  <c:v>41687</c:v>
                </c:pt>
                <c:pt idx="3489" formatCode="m/d/yyyy">
                  <c:v>41688</c:v>
                </c:pt>
                <c:pt idx="3490" formatCode="m/d/yyyy">
                  <c:v>41689</c:v>
                </c:pt>
                <c:pt idx="3491" formatCode="m/d/yyyy">
                  <c:v>41690</c:v>
                </c:pt>
                <c:pt idx="3492" formatCode="m/d/yyyy">
                  <c:v>41691</c:v>
                </c:pt>
                <c:pt idx="3493" formatCode="m/d/yyyy">
                  <c:v>41694</c:v>
                </c:pt>
                <c:pt idx="3494" formatCode="m/d/yyyy">
                  <c:v>41695</c:v>
                </c:pt>
                <c:pt idx="3495" formatCode="m/d/yyyy">
                  <c:v>41696</c:v>
                </c:pt>
                <c:pt idx="3496" formatCode="m/d/yyyy">
                  <c:v>41697</c:v>
                </c:pt>
                <c:pt idx="3497" formatCode="m/d/yyyy">
                  <c:v>41698</c:v>
                </c:pt>
                <c:pt idx="3498" formatCode="m/d/yyyy">
                  <c:v>41701</c:v>
                </c:pt>
                <c:pt idx="3499" formatCode="m/d/yyyy">
                  <c:v>41702</c:v>
                </c:pt>
                <c:pt idx="3500" formatCode="m/d/yyyy">
                  <c:v>41703</c:v>
                </c:pt>
                <c:pt idx="3501" formatCode="m/d/yyyy">
                  <c:v>41704</c:v>
                </c:pt>
                <c:pt idx="3502" formatCode="m/d/yyyy">
                  <c:v>41705</c:v>
                </c:pt>
                <c:pt idx="3503" formatCode="m/d/yyyy">
                  <c:v>41708</c:v>
                </c:pt>
                <c:pt idx="3504" formatCode="m/d/yyyy">
                  <c:v>41709</c:v>
                </c:pt>
                <c:pt idx="3505" formatCode="m/d/yyyy">
                  <c:v>41710</c:v>
                </c:pt>
                <c:pt idx="3506" formatCode="m/d/yyyy">
                  <c:v>41711</c:v>
                </c:pt>
                <c:pt idx="3507" formatCode="m/d/yyyy">
                  <c:v>41712</c:v>
                </c:pt>
                <c:pt idx="3508" formatCode="m/d/yyyy">
                  <c:v>41715</c:v>
                </c:pt>
                <c:pt idx="3509" formatCode="m/d/yyyy">
                  <c:v>41716</c:v>
                </c:pt>
                <c:pt idx="3510" formatCode="m/d/yyyy">
                  <c:v>41717</c:v>
                </c:pt>
                <c:pt idx="3511" formatCode="m/d/yyyy">
                  <c:v>41718</c:v>
                </c:pt>
                <c:pt idx="3512" formatCode="m/d/yyyy">
                  <c:v>41719</c:v>
                </c:pt>
                <c:pt idx="3513" formatCode="m/d/yyyy">
                  <c:v>41722</c:v>
                </c:pt>
                <c:pt idx="3514" formatCode="m/d/yyyy">
                  <c:v>41723</c:v>
                </c:pt>
                <c:pt idx="3515" formatCode="m/d/yyyy">
                  <c:v>41724</c:v>
                </c:pt>
                <c:pt idx="3516" formatCode="m/d/yyyy">
                  <c:v>41725</c:v>
                </c:pt>
                <c:pt idx="3517" formatCode="m/d/yyyy">
                  <c:v>41726</c:v>
                </c:pt>
                <c:pt idx="3518" formatCode="m/d/yyyy">
                  <c:v>41729</c:v>
                </c:pt>
                <c:pt idx="3519" formatCode="m/d/yyyy">
                  <c:v>41730</c:v>
                </c:pt>
                <c:pt idx="3520" formatCode="m/d/yyyy">
                  <c:v>41731</c:v>
                </c:pt>
                <c:pt idx="3521" formatCode="m/d/yyyy">
                  <c:v>41732</c:v>
                </c:pt>
                <c:pt idx="3522" formatCode="m/d/yyyy">
                  <c:v>41733</c:v>
                </c:pt>
                <c:pt idx="3523" formatCode="m/d/yyyy">
                  <c:v>41736</c:v>
                </c:pt>
                <c:pt idx="3524" formatCode="m/d/yyyy">
                  <c:v>41737</c:v>
                </c:pt>
                <c:pt idx="3525" formatCode="m/d/yyyy">
                  <c:v>41738</c:v>
                </c:pt>
                <c:pt idx="3526" formatCode="m/d/yyyy">
                  <c:v>41739</c:v>
                </c:pt>
                <c:pt idx="3527" formatCode="m/d/yyyy">
                  <c:v>41740</c:v>
                </c:pt>
                <c:pt idx="3528" formatCode="m/d/yyyy">
                  <c:v>41743</c:v>
                </c:pt>
                <c:pt idx="3529" formatCode="m/d/yyyy">
                  <c:v>41744</c:v>
                </c:pt>
                <c:pt idx="3530" formatCode="m/d/yyyy">
                  <c:v>41745</c:v>
                </c:pt>
                <c:pt idx="3531" formatCode="m/d/yyyy">
                  <c:v>41746</c:v>
                </c:pt>
                <c:pt idx="3532" formatCode="m/d/yyyy">
                  <c:v>41747</c:v>
                </c:pt>
                <c:pt idx="3533" formatCode="m/d/yyyy">
                  <c:v>41751</c:v>
                </c:pt>
                <c:pt idx="3534" formatCode="m/d/yyyy">
                  <c:v>41752</c:v>
                </c:pt>
                <c:pt idx="3535" formatCode="m/d/yyyy">
                  <c:v>41753</c:v>
                </c:pt>
                <c:pt idx="3536" formatCode="m/d/yyyy">
                  <c:v>41754</c:v>
                </c:pt>
                <c:pt idx="3537" formatCode="m/d/yyyy">
                  <c:v>41757</c:v>
                </c:pt>
                <c:pt idx="3538" formatCode="m/d/yyyy">
                  <c:v>41758</c:v>
                </c:pt>
                <c:pt idx="3539" formatCode="m/d/yyyy">
                  <c:v>41759</c:v>
                </c:pt>
                <c:pt idx="3540" formatCode="m/d/yyyy">
                  <c:v>41764</c:v>
                </c:pt>
                <c:pt idx="3541" formatCode="m/d/yyyy">
                  <c:v>41765</c:v>
                </c:pt>
                <c:pt idx="3542" formatCode="m/d/yyyy">
                  <c:v>41766</c:v>
                </c:pt>
                <c:pt idx="3543" formatCode="m/d/yyyy">
                  <c:v>41767</c:v>
                </c:pt>
                <c:pt idx="3544" formatCode="m/d/yyyy">
                  <c:v>41768</c:v>
                </c:pt>
                <c:pt idx="3545" formatCode="m/d/yyyy">
                  <c:v>41769</c:v>
                </c:pt>
                <c:pt idx="3546" formatCode="m/d/yyyy">
                  <c:v>41771</c:v>
                </c:pt>
                <c:pt idx="3547" formatCode="m/d/yyyy">
                  <c:v>41772</c:v>
                </c:pt>
                <c:pt idx="3548" formatCode="m/d/yyyy">
                  <c:v>41773</c:v>
                </c:pt>
                <c:pt idx="3549" formatCode="m/d/yyyy">
                  <c:v>41774</c:v>
                </c:pt>
                <c:pt idx="3550" formatCode="m/d/yyyy">
                  <c:v>41775</c:v>
                </c:pt>
                <c:pt idx="3551" formatCode="m/d/yyyy">
                  <c:v>41778</c:v>
                </c:pt>
                <c:pt idx="3552" formatCode="m/d/yyyy">
                  <c:v>41779</c:v>
                </c:pt>
                <c:pt idx="3553" formatCode="m/d/yyyy">
                  <c:v>41780</c:v>
                </c:pt>
                <c:pt idx="3554" formatCode="m/d/yyyy">
                  <c:v>41781</c:v>
                </c:pt>
                <c:pt idx="3555" formatCode="m/d/yyyy">
                  <c:v>41782</c:v>
                </c:pt>
                <c:pt idx="3556" formatCode="m/d/yyyy">
                  <c:v>41785</c:v>
                </c:pt>
                <c:pt idx="3557" formatCode="m/d/yyyy">
                  <c:v>41786</c:v>
                </c:pt>
                <c:pt idx="3558" formatCode="m/d/yyyy">
                  <c:v>41787</c:v>
                </c:pt>
                <c:pt idx="3559" formatCode="m/d/yyyy">
                  <c:v>41788</c:v>
                </c:pt>
                <c:pt idx="3560" formatCode="m/d/yyyy">
                  <c:v>41789</c:v>
                </c:pt>
                <c:pt idx="3561" formatCode="m/d/yyyy">
                  <c:v>41792</c:v>
                </c:pt>
                <c:pt idx="3562" formatCode="m/d/yyyy">
                  <c:v>41793</c:v>
                </c:pt>
                <c:pt idx="3563" formatCode="m/d/yyyy">
                  <c:v>41794</c:v>
                </c:pt>
                <c:pt idx="3564" formatCode="m/d/yyyy">
                  <c:v>41795</c:v>
                </c:pt>
                <c:pt idx="3565" formatCode="m/d/yyyy">
                  <c:v>41796</c:v>
                </c:pt>
                <c:pt idx="3566" formatCode="m/d/yyyy">
                  <c:v>41800</c:v>
                </c:pt>
                <c:pt idx="3567" formatCode="m/d/yyyy">
                  <c:v>41801</c:v>
                </c:pt>
                <c:pt idx="3568" formatCode="m/d/yyyy">
                  <c:v>41802</c:v>
                </c:pt>
                <c:pt idx="3569" formatCode="m/d/yyyy">
                  <c:v>41803</c:v>
                </c:pt>
                <c:pt idx="3570" formatCode="m/d/yyyy">
                  <c:v>41806</c:v>
                </c:pt>
                <c:pt idx="3571" formatCode="m/d/yyyy">
                  <c:v>41807</c:v>
                </c:pt>
                <c:pt idx="3572" formatCode="m/d/yyyy">
                  <c:v>41808</c:v>
                </c:pt>
                <c:pt idx="3573" formatCode="m/d/yyyy">
                  <c:v>41809</c:v>
                </c:pt>
                <c:pt idx="3574" formatCode="m/d/yyyy">
                  <c:v>41810</c:v>
                </c:pt>
                <c:pt idx="3575" formatCode="m/d/yyyy">
                  <c:v>41813</c:v>
                </c:pt>
                <c:pt idx="3576" formatCode="m/d/yyyy">
                  <c:v>41814</c:v>
                </c:pt>
                <c:pt idx="3577" formatCode="m/d/yyyy">
                  <c:v>41815</c:v>
                </c:pt>
                <c:pt idx="3578" formatCode="m/d/yyyy">
                  <c:v>41816</c:v>
                </c:pt>
                <c:pt idx="3579" formatCode="m/d/yyyy">
                  <c:v>41817</c:v>
                </c:pt>
                <c:pt idx="3580" formatCode="m/d/yyyy">
                  <c:v>41820</c:v>
                </c:pt>
                <c:pt idx="3581" formatCode="m/d/yyyy">
                  <c:v>41821</c:v>
                </c:pt>
                <c:pt idx="3582" formatCode="m/d/yyyy">
                  <c:v>41822</c:v>
                </c:pt>
                <c:pt idx="3583" formatCode="m/d/yyyy">
                  <c:v>41823</c:v>
                </c:pt>
                <c:pt idx="3584" formatCode="m/d/yyyy">
                  <c:v>41824</c:v>
                </c:pt>
                <c:pt idx="3585" formatCode="m/d/yyyy">
                  <c:v>41827</c:v>
                </c:pt>
                <c:pt idx="3586" formatCode="m/d/yyyy">
                  <c:v>41828</c:v>
                </c:pt>
                <c:pt idx="3587" formatCode="m/d/yyyy">
                  <c:v>41829</c:v>
                </c:pt>
                <c:pt idx="3588" formatCode="m/d/yyyy">
                  <c:v>41830</c:v>
                </c:pt>
                <c:pt idx="3589" formatCode="m/d/yyyy">
                  <c:v>41831</c:v>
                </c:pt>
                <c:pt idx="3590" formatCode="m/d/yyyy">
                  <c:v>41834</c:v>
                </c:pt>
                <c:pt idx="3591" formatCode="m/d/yyyy">
                  <c:v>41835</c:v>
                </c:pt>
                <c:pt idx="3592" formatCode="m/d/yyyy">
                  <c:v>41836</c:v>
                </c:pt>
                <c:pt idx="3593" formatCode="m/d/yyyy">
                  <c:v>41837</c:v>
                </c:pt>
                <c:pt idx="3594" formatCode="m/d/yyyy">
                  <c:v>41838</c:v>
                </c:pt>
                <c:pt idx="3595" formatCode="m/d/yyyy">
                  <c:v>41841</c:v>
                </c:pt>
                <c:pt idx="3596" formatCode="m/d/yyyy">
                  <c:v>41842</c:v>
                </c:pt>
                <c:pt idx="3597" formatCode="m/d/yyyy">
                  <c:v>41843</c:v>
                </c:pt>
                <c:pt idx="3598" formatCode="m/d/yyyy">
                  <c:v>41844</c:v>
                </c:pt>
                <c:pt idx="3599" formatCode="m/d/yyyy">
                  <c:v>41845</c:v>
                </c:pt>
                <c:pt idx="3600" formatCode="m/d/yyyy">
                  <c:v>41848</c:v>
                </c:pt>
                <c:pt idx="3601" formatCode="m/d/yyyy">
                  <c:v>41849</c:v>
                </c:pt>
                <c:pt idx="3602" formatCode="m/d/yyyy">
                  <c:v>41850</c:v>
                </c:pt>
                <c:pt idx="3603" formatCode="m/d/yyyy">
                  <c:v>41851</c:v>
                </c:pt>
                <c:pt idx="3604" formatCode="m/d/yyyy">
                  <c:v>41852</c:v>
                </c:pt>
                <c:pt idx="3605" formatCode="m/d/yyyy">
                  <c:v>41855</c:v>
                </c:pt>
                <c:pt idx="3606" formatCode="m/d/yyyy">
                  <c:v>41856</c:v>
                </c:pt>
                <c:pt idx="3607" formatCode="m/d/yyyy">
                  <c:v>41857</c:v>
                </c:pt>
                <c:pt idx="3608" formatCode="m/d/yyyy">
                  <c:v>41858</c:v>
                </c:pt>
                <c:pt idx="3609" formatCode="m/d/yyyy">
                  <c:v>41859</c:v>
                </c:pt>
                <c:pt idx="3610" formatCode="m/d/yyyy">
                  <c:v>41862</c:v>
                </c:pt>
                <c:pt idx="3611" formatCode="m/d/yyyy">
                  <c:v>41863</c:v>
                </c:pt>
                <c:pt idx="3612" formatCode="m/d/yyyy">
                  <c:v>41864</c:v>
                </c:pt>
                <c:pt idx="3613" formatCode="m/d/yyyy">
                  <c:v>41865</c:v>
                </c:pt>
                <c:pt idx="3614" formatCode="m/d/yyyy">
                  <c:v>41866</c:v>
                </c:pt>
                <c:pt idx="3615" formatCode="m/d/yyyy">
                  <c:v>41869</c:v>
                </c:pt>
                <c:pt idx="3616" formatCode="m/d/yyyy">
                  <c:v>41870</c:v>
                </c:pt>
                <c:pt idx="3617" formatCode="m/d/yyyy">
                  <c:v>41872</c:v>
                </c:pt>
                <c:pt idx="3618" formatCode="m/d/yyyy">
                  <c:v>41873</c:v>
                </c:pt>
                <c:pt idx="3619" formatCode="m/d/yyyy">
                  <c:v>41876</c:v>
                </c:pt>
                <c:pt idx="3620" formatCode="m/d/yyyy">
                  <c:v>41877</c:v>
                </c:pt>
                <c:pt idx="3621" formatCode="m/d/yyyy">
                  <c:v>41878</c:v>
                </c:pt>
                <c:pt idx="3622" formatCode="m/d/yyyy">
                  <c:v>41879</c:v>
                </c:pt>
                <c:pt idx="3623" formatCode="m/d/yyyy">
                  <c:v>41880</c:v>
                </c:pt>
                <c:pt idx="3624" formatCode="m/d/yyyy">
                  <c:v>41883</c:v>
                </c:pt>
                <c:pt idx="3625" formatCode="m/d/yyyy">
                  <c:v>41884</c:v>
                </c:pt>
                <c:pt idx="3626" formatCode="m/d/yyyy">
                  <c:v>41885</c:v>
                </c:pt>
                <c:pt idx="3627" formatCode="m/d/yyyy">
                  <c:v>41886</c:v>
                </c:pt>
                <c:pt idx="3628" formatCode="m/d/yyyy">
                  <c:v>41887</c:v>
                </c:pt>
                <c:pt idx="3629" formatCode="m/d/yyyy">
                  <c:v>41890</c:v>
                </c:pt>
                <c:pt idx="3630" formatCode="m/d/yyyy">
                  <c:v>41891</c:v>
                </c:pt>
                <c:pt idx="3631" formatCode="m/d/yyyy">
                  <c:v>41892</c:v>
                </c:pt>
                <c:pt idx="3632" formatCode="m/d/yyyy">
                  <c:v>41893</c:v>
                </c:pt>
                <c:pt idx="3633" formatCode="m/d/yyyy">
                  <c:v>41894</c:v>
                </c:pt>
                <c:pt idx="3634" formatCode="m/d/yyyy">
                  <c:v>41897</c:v>
                </c:pt>
                <c:pt idx="3635" formatCode="m/d/yyyy">
                  <c:v>41898</c:v>
                </c:pt>
                <c:pt idx="3636" formatCode="m/d/yyyy">
                  <c:v>41899</c:v>
                </c:pt>
                <c:pt idx="3637" formatCode="m/d/yyyy">
                  <c:v>41900</c:v>
                </c:pt>
                <c:pt idx="3638" formatCode="m/d/yyyy">
                  <c:v>41901</c:v>
                </c:pt>
                <c:pt idx="3639" formatCode="m/d/yyyy">
                  <c:v>41904</c:v>
                </c:pt>
                <c:pt idx="3640" formatCode="m/d/yyyy">
                  <c:v>41905</c:v>
                </c:pt>
                <c:pt idx="3641" formatCode="m/d/yyyy">
                  <c:v>41906</c:v>
                </c:pt>
                <c:pt idx="3642" formatCode="m/d/yyyy">
                  <c:v>41907</c:v>
                </c:pt>
                <c:pt idx="3643" formatCode="m/d/yyyy">
                  <c:v>41908</c:v>
                </c:pt>
                <c:pt idx="3644" formatCode="m/d/yyyy">
                  <c:v>41911</c:v>
                </c:pt>
                <c:pt idx="3645" formatCode="m/d/yyyy">
                  <c:v>41912</c:v>
                </c:pt>
                <c:pt idx="3646" formatCode="m/d/yyyy">
                  <c:v>41913</c:v>
                </c:pt>
                <c:pt idx="3647" formatCode="m/d/yyyy">
                  <c:v>41914</c:v>
                </c:pt>
                <c:pt idx="3648" formatCode="m/d/yyyy">
                  <c:v>41915</c:v>
                </c:pt>
                <c:pt idx="3649" formatCode="m/d/yyyy">
                  <c:v>41918</c:v>
                </c:pt>
                <c:pt idx="3650" formatCode="m/d/yyyy">
                  <c:v>41919</c:v>
                </c:pt>
                <c:pt idx="3651" formatCode="m/d/yyyy">
                  <c:v>41920</c:v>
                </c:pt>
                <c:pt idx="3652" formatCode="m/d/yyyy">
                  <c:v>41921</c:v>
                </c:pt>
                <c:pt idx="3653" formatCode="m/d/yyyy">
                  <c:v>41922</c:v>
                </c:pt>
                <c:pt idx="3654" formatCode="m/d/yyyy">
                  <c:v>41925</c:v>
                </c:pt>
                <c:pt idx="3655" formatCode="m/d/yyyy">
                  <c:v>41926</c:v>
                </c:pt>
                <c:pt idx="3656" formatCode="m/d/yyyy">
                  <c:v>41927</c:v>
                </c:pt>
                <c:pt idx="3657" formatCode="m/d/yyyy">
                  <c:v>41928</c:v>
                </c:pt>
                <c:pt idx="3658" formatCode="m/d/yyyy">
                  <c:v>41929</c:v>
                </c:pt>
                <c:pt idx="3659" formatCode="m/d/yyyy">
                  <c:v>41930</c:v>
                </c:pt>
                <c:pt idx="3660" formatCode="m/d/yyyy">
                  <c:v>41932</c:v>
                </c:pt>
                <c:pt idx="3661" formatCode="m/d/yyyy">
                  <c:v>41933</c:v>
                </c:pt>
                <c:pt idx="3662" formatCode="m/d/yyyy">
                  <c:v>41934</c:v>
                </c:pt>
                <c:pt idx="3663" formatCode="m/d/yyyy">
                  <c:v>41939</c:v>
                </c:pt>
                <c:pt idx="3664" formatCode="m/d/yyyy">
                  <c:v>41940</c:v>
                </c:pt>
                <c:pt idx="3665" formatCode="m/d/yyyy">
                  <c:v>41941</c:v>
                </c:pt>
                <c:pt idx="3666" formatCode="m/d/yyyy">
                  <c:v>41942</c:v>
                </c:pt>
                <c:pt idx="3667" formatCode="m/d/yyyy">
                  <c:v>41943</c:v>
                </c:pt>
                <c:pt idx="3668" formatCode="m/d/yyyy">
                  <c:v>41946</c:v>
                </c:pt>
                <c:pt idx="3669" formatCode="m/d/yyyy">
                  <c:v>41947</c:v>
                </c:pt>
                <c:pt idx="3670" formatCode="m/d/yyyy">
                  <c:v>41948</c:v>
                </c:pt>
                <c:pt idx="3671" formatCode="m/d/yyyy">
                  <c:v>41949</c:v>
                </c:pt>
                <c:pt idx="3672" formatCode="m/d/yyyy">
                  <c:v>41950</c:v>
                </c:pt>
                <c:pt idx="3673" formatCode="m/d/yyyy">
                  <c:v>41953</c:v>
                </c:pt>
                <c:pt idx="3674" formatCode="m/d/yyyy">
                  <c:v>41954</c:v>
                </c:pt>
                <c:pt idx="3675" formatCode="m/d/yyyy">
                  <c:v>41955</c:v>
                </c:pt>
                <c:pt idx="3676" formatCode="m/d/yyyy">
                  <c:v>41956</c:v>
                </c:pt>
                <c:pt idx="3677" formatCode="m/d/yyyy">
                  <c:v>41957</c:v>
                </c:pt>
                <c:pt idx="3678" formatCode="m/d/yyyy">
                  <c:v>41960</c:v>
                </c:pt>
                <c:pt idx="3679" formatCode="m/d/yyyy">
                  <c:v>41961</c:v>
                </c:pt>
                <c:pt idx="3680" formatCode="m/d/yyyy">
                  <c:v>41962</c:v>
                </c:pt>
                <c:pt idx="3681" formatCode="m/d/yyyy">
                  <c:v>41963</c:v>
                </c:pt>
                <c:pt idx="3682" formatCode="m/d/yyyy">
                  <c:v>41964</c:v>
                </c:pt>
                <c:pt idx="3683" formatCode="m/d/yyyy">
                  <c:v>41967</c:v>
                </c:pt>
                <c:pt idx="3684" formatCode="m/d/yyyy">
                  <c:v>41968</c:v>
                </c:pt>
                <c:pt idx="3685" formatCode="m/d/yyyy">
                  <c:v>41969</c:v>
                </c:pt>
                <c:pt idx="3686" formatCode="m/d/yyyy">
                  <c:v>41970</c:v>
                </c:pt>
                <c:pt idx="3687" formatCode="m/d/yyyy">
                  <c:v>41971</c:v>
                </c:pt>
                <c:pt idx="3688" formatCode="m/d/yyyy">
                  <c:v>41974</c:v>
                </c:pt>
                <c:pt idx="3689" formatCode="m/d/yyyy">
                  <c:v>41975</c:v>
                </c:pt>
                <c:pt idx="3690" formatCode="m/d/yyyy">
                  <c:v>41976</c:v>
                </c:pt>
                <c:pt idx="3691" formatCode="m/d/yyyy">
                  <c:v>41977</c:v>
                </c:pt>
                <c:pt idx="3692" formatCode="m/d/yyyy">
                  <c:v>41978</c:v>
                </c:pt>
                <c:pt idx="3693" formatCode="m/d/yyyy">
                  <c:v>41981</c:v>
                </c:pt>
                <c:pt idx="3694" formatCode="m/d/yyyy">
                  <c:v>41982</c:v>
                </c:pt>
                <c:pt idx="3695" formatCode="m/d/yyyy">
                  <c:v>41983</c:v>
                </c:pt>
                <c:pt idx="3696" formatCode="m/d/yyyy">
                  <c:v>41984</c:v>
                </c:pt>
                <c:pt idx="3697" formatCode="m/d/yyyy">
                  <c:v>41985</c:v>
                </c:pt>
                <c:pt idx="3698" formatCode="m/d/yyyy">
                  <c:v>41986</c:v>
                </c:pt>
                <c:pt idx="3699" formatCode="m/d/yyyy">
                  <c:v>41988</c:v>
                </c:pt>
                <c:pt idx="3700" formatCode="m/d/yyyy">
                  <c:v>41989</c:v>
                </c:pt>
                <c:pt idx="3701" formatCode="m/d/yyyy">
                  <c:v>41990</c:v>
                </c:pt>
                <c:pt idx="3702" formatCode="m/d/yyyy">
                  <c:v>41991</c:v>
                </c:pt>
                <c:pt idx="3703" formatCode="m/d/yyyy">
                  <c:v>41992</c:v>
                </c:pt>
                <c:pt idx="3704" formatCode="m/d/yyyy">
                  <c:v>41995</c:v>
                </c:pt>
                <c:pt idx="3705" formatCode="m/d/yyyy">
                  <c:v>41996</c:v>
                </c:pt>
                <c:pt idx="3706" formatCode="m/d/yyyy">
                  <c:v>42002</c:v>
                </c:pt>
                <c:pt idx="3707" formatCode="m/d/yyyy">
                  <c:v>42003</c:v>
                </c:pt>
                <c:pt idx="3708" formatCode="m/d/yyyy">
                  <c:v>42004</c:v>
                </c:pt>
                <c:pt idx="3709" formatCode="m/d/yyyy">
                  <c:v>42009</c:v>
                </c:pt>
                <c:pt idx="3710" formatCode="m/d/yyyy">
                  <c:v>42010</c:v>
                </c:pt>
                <c:pt idx="3711" formatCode="m/d/yyyy">
                  <c:v>42011</c:v>
                </c:pt>
                <c:pt idx="3712" formatCode="m/d/yyyy">
                  <c:v>42012</c:v>
                </c:pt>
                <c:pt idx="3713" formatCode="m/d/yyyy">
                  <c:v>42013</c:v>
                </c:pt>
                <c:pt idx="3714" formatCode="m/d/yyyy">
                  <c:v>42014</c:v>
                </c:pt>
                <c:pt idx="3715" formatCode="m/d/yyyy">
                  <c:v>42016</c:v>
                </c:pt>
                <c:pt idx="3716" formatCode="m/d/yyyy">
                  <c:v>42017</c:v>
                </c:pt>
                <c:pt idx="3717" formatCode="m/d/yyyy">
                  <c:v>42018</c:v>
                </c:pt>
                <c:pt idx="3718" formatCode="m/d/yyyy">
                  <c:v>42019</c:v>
                </c:pt>
                <c:pt idx="3719" formatCode="m/d/yyyy">
                  <c:v>42020</c:v>
                </c:pt>
                <c:pt idx="3720" formatCode="m/d/yyyy">
                  <c:v>42023</c:v>
                </c:pt>
                <c:pt idx="3721" formatCode="m/d/yyyy">
                  <c:v>42024</c:v>
                </c:pt>
                <c:pt idx="3722" formatCode="m/d/yyyy">
                  <c:v>42025</c:v>
                </c:pt>
                <c:pt idx="3723" formatCode="m/d/yyyy">
                  <c:v>42026</c:v>
                </c:pt>
                <c:pt idx="3724" formatCode="m/d/yyyy">
                  <c:v>42027</c:v>
                </c:pt>
                <c:pt idx="3725" formatCode="m/d/yyyy">
                  <c:v>42030</c:v>
                </c:pt>
                <c:pt idx="3726" formatCode="m/d/yyyy">
                  <c:v>42031</c:v>
                </c:pt>
                <c:pt idx="3727" formatCode="m/d/yyyy">
                  <c:v>42032</c:v>
                </c:pt>
                <c:pt idx="3728" formatCode="m/d/yyyy">
                  <c:v>42033</c:v>
                </c:pt>
                <c:pt idx="3729" formatCode="m/d/yyyy">
                  <c:v>42034</c:v>
                </c:pt>
                <c:pt idx="3730" formatCode="m/d/yyyy">
                  <c:v>42037</c:v>
                </c:pt>
                <c:pt idx="3731" formatCode="m/d/yyyy">
                  <c:v>42038</c:v>
                </c:pt>
                <c:pt idx="3732" formatCode="m/d/yyyy">
                  <c:v>42039</c:v>
                </c:pt>
                <c:pt idx="3733" formatCode="m/d/yyyy">
                  <c:v>42040</c:v>
                </c:pt>
                <c:pt idx="3734" formatCode="m/d/yyyy">
                  <c:v>42041</c:v>
                </c:pt>
                <c:pt idx="3735" formatCode="m/d/yyyy">
                  <c:v>42044</c:v>
                </c:pt>
                <c:pt idx="3736" formatCode="m/d/yyyy">
                  <c:v>42045</c:v>
                </c:pt>
                <c:pt idx="3737" formatCode="m/d/yyyy">
                  <c:v>42046</c:v>
                </c:pt>
                <c:pt idx="3738" formatCode="m/d/yyyy">
                  <c:v>42047</c:v>
                </c:pt>
                <c:pt idx="3739" formatCode="m/d/yyyy">
                  <c:v>42048</c:v>
                </c:pt>
                <c:pt idx="3740" formatCode="m/d/yyyy">
                  <c:v>42051</c:v>
                </c:pt>
                <c:pt idx="3741" formatCode="m/d/yyyy">
                  <c:v>42052</c:v>
                </c:pt>
                <c:pt idx="3742" formatCode="m/d/yyyy">
                  <c:v>42053</c:v>
                </c:pt>
                <c:pt idx="3743" formatCode="m/d/yyyy">
                  <c:v>42054</c:v>
                </c:pt>
                <c:pt idx="3744" formatCode="m/d/yyyy">
                  <c:v>42055</c:v>
                </c:pt>
                <c:pt idx="3745" formatCode="m/d/yyyy">
                  <c:v>42058</c:v>
                </c:pt>
                <c:pt idx="3746" formatCode="m/d/yyyy">
                  <c:v>42059</c:v>
                </c:pt>
                <c:pt idx="3747" formatCode="m/d/yyyy">
                  <c:v>42060</c:v>
                </c:pt>
                <c:pt idx="3748" formatCode="m/d/yyyy">
                  <c:v>42061</c:v>
                </c:pt>
                <c:pt idx="3749" formatCode="m/d/yyyy">
                  <c:v>42062</c:v>
                </c:pt>
                <c:pt idx="3750" formatCode="m/d/yyyy">
                  <c:v>42065</c:v>
                </c:pt>
                <c:pt idx="3751" formatCode="m/d/yyyy">
                  <c:v>42066</c:v>
                </c:pt>
                <c:pt idx="3752" formatCode="m/d/yyyy">
                  <c:v>42067</c:v>
                </c:pt>
                <c:pt idx="3753" formatCode="m/d/yyyy">
                  <c:v>42068</c:v>
                </c:pt>
                <c:pt idx="3754" formatCode="m/d/yyyy">
                  <c:v>42069</c:v>
                </c:pt>
                <c:pt idx="3755" formatCode="m/d/yyyy">
                  <c:v>42072</c:v>
                </c:pt>
                <c:pt idx="3756" formatCode="m/d/yyyy">
                  <c:v>42073</c:v>
                </c:pt>
                <c:pt idx="3757" formatCode="m/d/yyyy">
                  <c:v>42074</c:v>
                </c:pt>
                <c:pt idx="3758" formatCode="m/d/yyyy">
                  <c:v>42075</c:v>
                </c:pt>
                <c:pt idx="3759" formatCode="m/d/yyyy">
                  <c:v>42076</c:v>
                </c:pt>
                <c:pt idx="3760" formatCode="m/d/yyyy">
                  <c:v>42079</c:v>
                </c:pt>
                <c:pt idx="3761" formatCode="m/d/yyyy">
                  <c:v>42080</c:v>
                </c:pt>
                <c:pt idx="3762" formatCode="m/d/yyyy">
                  <c:v>42081</c:v>
                </c:pt>
                <c:pt idx="3763" formatCode="m/d/yyyy">
                  <c:v>42082</c:v>
                </c:pt>
                <c:pt idx="3764" formatCode="m/d/yyyy">
                  <c:v>42083</c:v>
                </c:pt>
                <c:pt idx="3765" formatCode="m/d/yyyy">
                  <c:v>42086</c:v>
                </c:pt>
                <c:pt idx="3766" formatCode="m/d/yyyy">
                  <c:v>42087</c:v>
                </c:pt>
                <c:pt idx="3767" formatCode="m/d/yyyy">
                  <c:v>42088</c:v>
                </c:pt>
                <c:pt idx="3768" formatCode="m/d/yyyy">
                  <c:v>42089</c:v>
                </c:pt>
                <c:pt idx="3769" formatCode="m/d/yyyy">
                  <c:v>42090</c:v>
                </c:pt>
                <c:pt idx="3770" formatCode="m/d/yyyy">
                  <c:v>42093</c:v>
                </c:pt>
                <c:pt idx="3771" formatCode="m/d/yyyy">
                  <c:v>42094</c:v>
                </c:pt>
                <c:pt idx="3772" formatCode="m/d/yyyy">
                  <c:v>42095</c:v>
                </c:pt>
                <c:pt idx="3773" formatCode="m/d/yyyy">
                  <c:v>42096</c:v>
                </c:pt>
                <c:pt idx="3774" formatCode="m/d/yyyy">
                  <c:v>42097</c:v>
                </c:pt>
                <c:pt idx="3775" formatCode="m/d/yyyy">
                  <c:v>42101</c:v>
                </c:pt>
                <c:pt idx="3776" formatCode="m/d/yyyy">
                  <c:v>42102</c:v>
                </c:pt>
                <c:pt idx="3777" formatCode="m/d/yyyy">
                  <c:v>42103</c:v>
                </c:pt>
                <c:pt idx="3778" formatCode="m/d/yyyy">
                  <c:v>42104</c:v>
                </c:pt>
                <c:pt idx="3779" formatCode="m/d/yyyy">
                  <c:v>42107</c:v>
                </c:pt>
                <c:pt idx="3780" formatCode="m/d/yyyy">
                  <c:v>42108</c:v>
                </c:pt>
                <c:pt idx="3781" formatCode="m/d/yyyy">
                  <c:v>42109</c:v>
                </c:pt>
                <c:pt idx="3782" formatCode="m/d/yyyy">
                  <c:v>42110</c:v>
                </c:pt>
                <c:pt idx="3783" formatCode="m/d/yyyy">
                  <c:v>42111</c:v>
                </c:pt>
                <c:pt idx="3784" formatCode="m/d/yyyy">
                  <c:v>42114</c:v>
                </c:pt>
                <c:pt idx="3785" formatCode="m/d/yyyy">
                  <c:v>42115</c:v>
                </c:pt>
                <c:pt idx="3786" formatCode="m/d/yyyy">
                  <c:v>42116</c:v>
                </c:pt>
                <c:pt idx="3787" formatCode="m/d/yyyy">
                  <c:v>42117</c:v>
                </c:pt>
                <c:pt idx="3788" formatCode="m/d/yyyy">
                  <c:v>42118</c:v>
                </c:pt>
                <c:pt idx="3789" formatCode="m/d/yyyy">
                  <c:v>42121</c:v>
                </c:pt>
                <c:pt idx="3790" formatCode="m/d/yyyy">
                  <c:v>42122</c:v>
                </c:pt>
                <c:pt idx="3791" formatCode="m/d/yyyy">
                  <c:v>42123</c:v>
                </c:pt>
                <c:pt idx="3792" formatCode="m/d/yyyy">
                  <c:v>42124</c:v>
                </c:pt>
                <c:pt idx="3793" formatCode="m/d/yyyy">
                  <c:v>42128</c:v>
                </c:pt>
                <c:pt idx="3794" formatCode="m/d/yyyy">
                  <c:v>42129</c:v>
                </c:pt>
                <c:pt idx="3795" formatCode="m/d/yyyy">
                  <c:v>42130</c:v>
                </c:pt>
                <c:pt idx="3796" formatCode="m/d/yyyy">
                  <c:v>42131</c:v>
                </c:pt>
                <c:pt idx="3797" formatCode="m/d/yyyy">
                  <c:v>42132</c:v>
                </c:pt>
                <c:pt idx="3798" formatCode="m/d/yyyy">
                  <c:v>42135</c:v>
                </c:pt>
                <c:pt idx="3799" formatCode="m/d/yyyy">
                  <c:v>42136</c:v>
                </c:pt>
                <c:pt idx="3800" formatCode="m/d/yyyy">
                  <c:v>42137</c:v>
                </c:pt>
                <c:pt idx="3801" formatCode="m/d/yyyy">
                  <c:v>42138</c:v>
                </c:pt>
                <c:pt idx="3802" formatCode="m/d/yyyy">
                  <c:v>42139</c:v>
                </c:pt>
                <c:pt idx="3803" formatCode="m/d/yyyy">
                  <c:v>42142</c:v>
                </c:pt>
                <c:pt idx="3804" formatCode="m/d/yyyy">
                  <c:v>42143</c:v>
                </c:pt>
                <c:pt idx="3805" formatCode="m/d/yyyy">
                  <c:v>42144</c:v>
                </c:pt>
                <c:pt idx="3806" formatCode="m/d/yyyy">
                  <c:v>42145</c:v>
                </c:pt>
                <c:pt idx="3807" formatCode="m/d/yyyy">
                  <c:v>42146</c:v>
                </c:pt>
                <c:pt idx="3808" formatCode="m/d/yyyy">
                  <c:v>42150</c:v>
                </c:pt>
                <c:pt idx="3809" formatCode="m/d/yyyy">
                  <c:v>42151</c:v>
                </c:pt>
                <c:pt idx="3810" formatCode="m/d/yyyy">
                  <c:v>42152</c:v>
                </c:pt>
                <c:pt idx="3811" formatCode="m/d/yyyy">
                  <c:v>42153</c:v>
                </c:pt>
                <c:pt idx="3812" formatCode="m/d/yyyy">
                  <c:v>42156</c:v>
                </c:pt>
                <c:pt idx="3813" formatCode="m/d/yyyy">
                  <c:v>42157</c:v>
                </c:pt>
                <c:pt idx="3814" formatCode="m/d/yyyy">
                  <c:v>42158</c:v>
                </c:pt>
                <c:pt idx="3815" formatCode="m/d/yyyy">
                  <c:v>42159</c:v>
                </c:pt>
                <c:pt idx="3816" formatCode="m/d/yyyy">
                  <c:v>42160</c:v>
                </c:pt>
                <c:pt idx="3817" formatCode="m/d/yyyy">
                  <c:v>42163</c:v>
                </c:pt>
                <c:pt idx="3818" formatCode="m/d/yyyy">
                  <c:v>42164</c:v>
                </c:pt>
                <c:pt idx="3819" formatCode="m/d/yyyy">
                  <c:v>42165</c:v>
                </c:pt>
                <c:pt idx="3820" formatCode="m/d/yyyy">
                  <c:v>42166</c:v>
                </c:pt>
                <c:pt idx="3821" formatCode="m/d/yyyy">
                  <c:v>42167</c:v>
                </c:pt>
                <c:pt idx="3822" formatCode="m/d/yyyy">
                  <c:v>42170</c:v>
                </c:pt>
                <c:pt idx="3823" formatCode="m/d/yyyy">
                  <c:v>42171</c:v>
                </c:pt>
                <c:pt idx="3824" formatCode="m/d/yyyy">
                  <c:v>42172</c:v>
                </c:pt>
                <c:pt idx="3825" formatCode="m/d/yyyy">
                  <c:v>42173</c:v>
                </c:pt>
                <c:pt idx="3826" formatCode="m/d/yyyy">
                  <c:v>42174</c:v>
                </c:pt>
                <c:pt idx="3827" formatCode="m/d/yyyy">
                  <c:v>42177</c:v>
                </c:pt>
                <c:pt idx="3828" formatCode="m/d/yyyy">
                  <c:v>42178</c:v>
                </c:pt>
                <c:pt idx="3829" formatCode="m/d/yyyy">
                  <c:v>42179</c:v>
                </c:pt>
                <c:pt idx="3830" formatCode="m/d/yyyy">
                  <c:v>42180</c:v>
                </c:pt>
                <c:pt idx="3831" formatCode="m/d/yyyy">
                  <c:v>42181</c:v>
                </c:pt>
                <c:pt idx="3832" formatCode="m/d/yyyy">
                  <c:v>42184</c:v>
                </c:pt>
                <c:pt idx="3833" formatCode="m/d/yyyy">
                  <c:v>42185</c:v>
                </c:pt>
                <c:pt idx="3834" formatCode="m/d/yyyy">
                  <c:v>42186</c:v>
                </c:pt>
                <c:pt idx="3835" formatCode="m/d/yyyy">
                  <c:v>42187</c:v>
                </c:pt>
                <c:pt idx="3836" formatCode="m/d/yyyy">
                  <c:v>42188</c:v>
                </c:pt>
                <c:pt idx="3837" formatCode="m/d/yyyy">
                  <c:v>42191</c:v>
                </c:pt>
                <c:pt idx="3838" formatCode="m/d/yyyy">
                  <c:v>42192</c:v>
                </c:pt>
                <c:pt idx="3839" formatCode="m/d/yyyy">
                  <c:v>42193</c:v>
                </c:pt>
                <c:pt idx="3840" formatCode="m/d/yyyy">
                  <c:v>42194</c:v>
                </c:pt>
                <c:pt idx="3841" formatCode="m/d/yyyy">
                  <c:v>42195</c:v>
                </c:pt>
                <c:pt idx="3842" formatCode="m/d/yyyy">
                  <c:v>42198</c:v>
                </c:pt>
                <c:pt idx="3843" formatCode="m/d/yyyy">
                  <c:v>42199</c:v>
                </c:pt>
                <c:pt idx="3844" formatCode="m/d/yyyy">
                  <c:v>42200</c:v>
                </c:pt>
                <c:pt idx="3845" formatCode="m/d/yyyy">
                  <c:v>42201</c:v>
                </c:pt>
                <c:pt idx="3846" formatCode="m/d/yyyy">
                  <c:v>42202</c:v>
                </c:pt>
                <c:pt idx="3847" formatCode="m/d/yyyy">
                  <c:v>42205</c:v>
                </c:pt>
                <c:pt idx="3848" formatCode="m/d/yyyy">
                  <c:v>42206</c:v>
                </c:pt>
                <c:pt idx="3849" formatCode="m/d/yyyy">
                  <c:v>42207</c:v>
                </c:pt>
                <c:pt idx="3850" formatCode="m/d/yyyy">
                  <c:v>42208</c:v>
                </c:pt>
                <c:pt idx="3851" formatCode="m/d/yyyy">
                  <c:v>42209</c:v>
                </c:pt>
                <c:pt idx="3852" formatCode="m/d/yyyy">
                  <c:v>42212</c:v>
                </c:pt>
                <c:pt idx="3853" formatCode="m/d/yyyy">
                  <c:v>42213</c:v>
                </c:pt>
                <c:pt idx="3854" formatCode="m/d/yyyy">
                  <c:v>42214</c:v>
                </c:pt>
                <c:pt idx="3855" formatCode="m/d/yyyy">
                  <c:v>42215</c:v>
                </c:pt>
                <c:pt idx="3856" formatCode="m/d/yyyy">
                  <c:v>42216</c:v>
                </c:pt>
                <c:pt idx="3857" formatCode="m/d/yyyy">
                  <c:v>42219</c:v>
                </c:pt>
                <c:pt idx="3858" formatCode="m/d/yyyy">
                  <c:v>42220</c:v>
                </c:pt>
                <c:pt idx="3859" formatCode="m/d/yyyy">
                  <c:v>42221</c:v>
                </c:pt>
                <c:pt idx="3860" formatCode="m/d/yyyy">
                  <c:v>42222</c:v>
                </c:pt>
                <c:pt idx="3861" formatCode="m/d/yyyy">
                  <c:v>42223</c:v>
                </c:pt>
                <c:pt idx="3862" formatCode="m/d/yyyy">
                  <c:v>42224</c:v>
                </c:pt>
                <c:pt idx="3863" formatCode="m/d/yyyy">
                  <c:v>42226</c:v>
                </c:pt>
                <c:pt idx="3864" formatCode="m/d/yyyy">
                  <c:v>42227</c:v>
                </c:pt>
                <c:pt idx="3865" formatCode="m/d/yyyy">
                  <c:v>42228</c:v>
                </c:pt>
                <c:pt idx="3866" formatCode="m/d/yyyy">
                  <c:v>42229</c:v>
                </c:pt>
                <c:pt idx="3867" formatCode="m/d/yyyy">
                  <c:v>42230</c:v>
                </c:pt>
                <c:pt idx="3868" formatCode="m/d/yyyy">
                  <c:v>42233</c:v>
                </c:pt>
                <c:pt idx="3869" formatCode="m/d/yyyy">
                  <c:v>42234</c:v>
                </c:pt>
                <c:pt idx="3870" formatCode="m/d/yyyy">
                  <c:v>42235</c:v>
                </c:pt>
                <c:pt idx="3871" formatCode="m/d/yyyy">
                  <c:v>42240</c:v>
                </c:pt>
                <c:pt idx="3872" formatCode="m/d/yyyy">
                  <c:v>42241</c:v>
                </c:pt>
                <c:pt idx="3873" formatCode="m/d/yyyy">
                  <c:v>42242</c:v>
                </c:pt>
                <c:pt idx="3874" formatCode="m/d/yyyy">
                  <c:v>42243</c:v>
                </c:pt>
                <c:pt idx="3875" formatCode="m/d/yyyy">
                  <c:v>42244</c:v>
                </c:pt>
                <c:pt idx="3876" formatCode="m/d/yyyy">
                  <c:v>42247</c:v>
                </c:pt>
                <c:pt idx="3877" formatCode="m/d/yyyy">
                  <c:v>42248</c:v>
                </c:pt>
                <c:pt idx="3878" formatCode="m/d/yyyy">
                  <c:v>42249</c:v>
                </c:pt>
                <c:pt idx="3879" formatCode="m/d/yyyy">
                  <c:v>42250</c:v>
                </c:pt>
                <c:pt idx="3880" formatCode="m/d/yyyy">
                  <c:v>42251</c:v>
                </c:pt>
                <c:pt idx="3881" formatCode="m/d/yyyy">
                  <c:v>42254</c:v>
                </c:pt>
                <c:pt idx="3882" formatCode="m/d/yyyy">
                  <c:v>42255</c:v>
                </c:pt>
                <c:pt idx="3883" formatCode="m/d/yyyy">
                  <c:v>42256</c:v>
                </c:pt>
                <c:pt idx="3884" formatCode="m/d/yyyy">
                  <c:v>42257</c:v>
                </c:pt>
                <c:pt idx="3885" formatCode="m/d/yyyy">
                  <c:v>42258</c:v>
                </c:pt>
                <c:pt idx="3886" formatCode="m/d/yyyy">
                  <c:v>42261</c:v>
                </c:pt>
                <c:pt idx="3887" formatCode="m/d/yyyy">
                  <c:v>42262</c:v>
                </c:pt>
                <c:pt idx="3888" formatCode="m/d/yyyy">
                  <c:v>42263</c:v>
                </c:pt>
                <c:pt idx="3889" formatCode="m/d/yyyy">
                  <c:v>42264</c:v>
                </c:pt>
                <c:pt idx="3890" formatCode="m/d/yyyy">
                  <c:v>42265</c:v>
                </c:pt>
                <c:pt idx="3891" formatCode="m/d/yyyy">
                  <c:v>42268</c:v>
                </c:pt>
                <c:pt idx="3892" formatCode="m/d/yyyy">
                  <c:v>42269</c:v>
                </c:pt>
                <c:pt idx="3893" formatCode="m/d/yyyy">
                  <c:v>42270</c:v>
                </c:pt>
                <c:pt idx="3894" formatCode="m/d/yyyy">
                  <c:v>42271</c:v>
                </c:pt>
                <c:pt idx="3895" formatCode="m/d/yyyy">
                  <c:v>42272</c:v>
                </c:pt>
                <c:pt idx="3896" formatCode="m/d/yyyy">
                  <c:v>42275</c:v>
                </c:pt>
                <c:pt idx="3897" formatCode="m/d/yyyy">
                  <c:v>42276</c:v>
                </c:pt>
                <c:pt idx="3898" formatCode="m/d/yyyy">
                  <c:v>42277</c:v>
                </c:pt>
                <c:pt idx="3899" formatCode="m/d/yyyy">
                  <c:v>42278</c:v>
                </c:pt>
                <c:pt idx="3900" formatCode="m/d/yyyy">
                  <c:v>42279</c:v>
                </c:pt>
                <c:pt idx="3901" formatCode="m/d/yyyy">
                  <c:v>42282</c:v>
                </c:pt>
                <c:pt idx="3902" formatCode="m/d/yyyy">
                  <c:v>42283</c:v>
                </c:pt>
                <c:pt idx="3903" formatCode="m/d/yyyy">
                  <c:v>42284</c:v>
                </c:pt>
                <c:pt idx="3904" formatCode="m/d/yyyy">
                  <c:v>42285</c:v>
                </c:pt>
                <c:pt idx="3905" formatCode="m/d/yyyy">
                  <c:v>42286</c:v>
                </c:pt>
                <c:pt idx="3906" formatCode="m/d/yyyy">
                  <c:v>42289</c:v>
                </c:pt>
                <c:pt idx="3907" formatCode="m/d/yyyy">
                  <c:v>42290</c:v>
                </c:pt>
                <c:pt idx="3908" formatCode="m/d/yyyy">
                  <c:v>42291</c:v>
                </c:pt>
                <c:pt idx="3909" formatCode="m/d/yyyy">
                  <c:v>42292</c:v>
                </c:pt>
                <c:pt idx="3910" formatCode="m/d/yyyy">
                  <c:v>42293</c:v>
                </c:pt>
                <c:pt idx="3911" formatCode="m/d/yyyy">
                  <c:v>42296</c:v>
                </c:pt>
                <c:pt idx="3912" formatCode="m/d/yyyy">
                  <c:v>42297</c:v>
                </c:pt>
                <c:pt idx="3913" formatCode="m/d/yyyy">
                  <c:v>42298</c:v>
                </c:pt>
                <c:pt idx="3914" formatCode="m/d/yyyy">
                  <c:v>42299</c:v>
                </c:pt>
                <c:pt idx="3915" formatCode="m/d/yyyy">
                  <c:v>42303</c:v>
                </c:pt>
                <c:pt idx="3916" formatCode="m/d/yyyy">
                  <c:v>42304</c:v>
                </c:pt>
                <c:pt idx="3917" formatCode="m/d/yyyy">
                  <c:v>42305</c:v>
                </c:pt>
                <c:pt idx="3918" formatCode="m/d/yyyy">
                  <c:v>42306</c:v>
                </c:pt>
                <c:pt idx="3919" formatCode="m/d/yyyy">
                  <c:v>42307</c:v>
                </c:pt>
                <c:pt idx="3920" formatCode="m/d/yyyy">
                  <c:v>42310</c:v>
                </c:pt>
                <c:pt idx="3921" formatCode="m/d/yyyy">
                  <c:v>42311</c:v>
                </c:pt>
                <c:pt idx="3922" formatCode="m/d/yyyy">
                  <c:v>42312</c:v>
                </c:pt>
                <c:pt idx="3923" formatCode="m/d/yyyy">
                  <c:v>42313</c:v>
                </c:pt>
                <c:pt idx="3924" formatCode="m/d/yyyy">
                  <c:v>42314</c:v>
                </c:pt>
                <c:pt idx="3925" formatCode="m/d/yyyy">
                  <c:v>42317</c:v>
                </c:pt>
                <c:pt idx="3926" formatCode="m/d/yyyy">
                  <c:v>42318</c:v>
                </c:pt>
                <c:pt idx="3927" formatCode="m/d/yyyy">
                  <c:v>42319</c:v>
                </c:pt>
                <c:pt idx="3928" formatCode="m/d/yyyy">
                  <c:v>42320</c:v>
                </c:pt>
                <c:pt idx="3929" formatCode="m/d/yyyy">
                  <c:v>42321</c:v>
                </c:pt>
                <c:pt idx="3930" formatCode="m/d/yyyy">
                  <c:v>42324</c:v>
                </c:pt>
                <c:pt idx="3931" formatCode="m/d/yyyy">
                  <c:v>42325</c:v>
                </c:pt>
                <c:pt idx="3932" formatCode="m/d/yyyy">
                  <c:v>42326</c:v>
                </c:pt>
                <c:pt idx="3933" formatCode="m/d/yyyy">
                  <c:v>42327</c:v>
                </c:pt>
                <c:pt idx="3934" formatCode="m/d/yyyy">
                  <c:v>42328</c:v>
                </c:pt>
                <c:pt idx="3935" formatCode="m/d/yyyy">
                  <c:v>42331</c:v>
                </c:pt>
                <c:pt idx="3936" formatCode="m/d/yyyy">
                  <c:v>42332</c:v>
                </c:pt>
                <c:pt idx="3937" formatCode="m/d/yyyy">
                  <c:v>42333</c:v>
                </c:pt>
                <c:pt idx="3938" formatCode="m/d/yyyy">
                  <c:v>42334</c:v>
                </c:pt>
                <c:pt idx="3939" formatCode="m/d/yyyy">
                  <c:v>42335</c:v>
                </c:pt>
                <c:pt idx="3940" formatCode="m/d/yyyy">
                  <c:v>42338</c:v>
                </c:pt>
                <c:pt idx="3941" formatCode="m/d/yyyy">
                  <c:v>42339</c:v>
                </c:pt>
                <c:pt idx="3942" formatCode="m/d/yyyy">
                  <c:v>42340</c:v>
                </c:pt>
                <c:pt idx="3943" formatCode="m/d/yyyy">
                  <c:v>42341</c:v>
                </c:pt>
                <c:pt idx="3944" formatCode="m/d/yyyy">
                  <c:v>42342</c:v>
                </c:pt>
                <c:pt idx="3945" formatCode="m/d/yyyy">
                  <c:v>42345</c:v>
                </c:pt>
                <c:pt idx="3946" formatCode="m/d/yyyy">
                  <c:v>42346</c:v>
                </c:pt>
                <c:pt idx="3947" formatCode="m/d/yyyy">
                  <c:v>42347</c:v>
                </c:pt>
                <c:pt idx="3948" formatCode="m/d/yyyy">
                  <c:v>42348</c:v>
                </c:pt>
                <c:pt idx="3949" formatCode="m/d/yyyy">
                  <c:v>42349</c:v>
                </c:pt>
                <c:pt idx="3950" formatCode="m/d/yyyy">
                  <c:v>42350</c:v>
                </c:pt>
                <c:pt idx="3951" formatCode="m/d/yyyy">
                  <c:v>42352</c:v>
                </c:pt>
                <c:pt idx="3952" formatCode="m/d/yyyy">
                  <c:v>42353</c:v>
                </c:pt>
                <c:pt idx="3953" formatCode="m/d/yyyy">
                  <c:v>42354</c:v>
                </c:pt>
                <c:pt idx="3954" formatCode="m/d/yyyy">
                  <c:v>42355</c:v>
                </c:pt>
                <c:pt idx="3955" formatCode="m/d/yyyy">
                  <c:v>42356</c:v>
                </c:pt>
                <c:pt idx="3956" formatCode="m/d/yyyy">
                  <c:v>42359</c:v>
                </c:pt>
                <c:pt idx="3957" formatCode="m/d/yyyy">
                  <c:v>42360</c:v>
                </c:pt>
                <c:pt idx="3958" formatCode="m/d/yyyy">
                  <c:v>42361</c:v>
                </c:pt>
                <c:pt idx="3959" formatCode="m/d/yyyy">
                  <c:v>42366</c:v>
                </c:pt>
                <c:pt idx="3960" formatCode="m/d/yyyy">
                  <c:v>42367</c:v>
                </c:pt>
                <c:pt idx="3961" formatCode="m/d/yyyy">
                  <c:v>42368</c:v>
                </c:pt>
                <c:pt idx="3962" formatCode="m/d/yyyy">
                  <c:v>42369</c:v>
                </c:pt>
                <c:pt idx="3963" formatCode="m/d/yyyy">
                  <c:v>42373</c:v>
                </c:pt>
                <c:pt idx="3964" formatCode="m/d/yyyy">
                  <c:v>42374</c:v>
                </c:pt>
                <c:pt idx="3965" formatCode="m/d/yyyy">
                  <c:v>42375</c:v>
                </c:pt>
                <c:pt idx="3966" formatCode="m/d/yyyy">
                  <c:v>42376</c:v>
                </c:pt>
                <c:pt idx="3967" formatCode="m/d/yyyy">
                  <c:v>42377</c:v>
                </c:pt>
                <c:pt idx="3968" formatCode="m/d/yyyy">
                  <c:v>42380</c:v>
                </c:pt>
                <c:pt idx="3969" formatCode="m/d/yyyy">
                  <c:v>42381</c:v>
                </c:pt>
                <c:pt idx="3970" formatCode="m/d/yyyy">
                  <c:v>42382</c:v>
                </c:pt>
                <c:pt idx="3971" formatCode="m/d/yyyy">
                  <c:v>42383</c:v>
                </c:pt>
                <c:pt idx="3972" formatCode="m/d/yyyy">
                  <c:v>42384</c:v>
                </c:pt>
                <c:pt idx="3973" formatCode="m/d/yyyy">
                  <c:v>42387</c:v>
                </c:pt>
                <c:pt idx="3974" formatCode="m/d/yyyy">
                  <c:v>42388</c:v>
                </c:pt>
                <c:pt idx="3975" formatCode="m/d/yyyy">
                  <c:v>42389</c:v>
                </c:pt>
                <c:pt idx="3976" formatCode="m/d/yyyy">
                  <c:v>42390</c:v>
                </c:pt>
                <c:pt idx="3977" formatCode="m/d/yyyy">
                  <c:v>42391</c:v>
                </c:pt>
                <c:pt idx="3978" formatCode="m/d/yyyy">
                  <c:v>42394</c:v>
                </c:pt>
                <c:pt idx="3979" formatCode="m/d/yyyy">
                  <c:v>42395</c:v>
                </c:pt>
                <c:pt idx="3980" formatCode="m/d/yyyy">
                  <c:v>42396</c:v>
                </c:pt>
                <c:pt idx="3981" formatCode="m/d/yyyy">
                  <c:v>42397</c:v>
                </c:pt>
                <c:pt idx="3982" formatCode="m/d/yyyy">
                  <c:v>42398</c:v>
                </c:pt>
                <c:pt idx="3983" formatCode="m/d/yyyy">
                  <c:v>42401</c:v>
                </c:pt>
                <c:pt idx="3984" formatCode="m/d/yyyy">
                  <c:v>42402</c:v>
                </c:pt>
                <c:pt idx="3985" formatCode="m/d/yyyy">
                  <c:v>42403</c:v>
                </c:pt>
                <c:pt idx="3986" formatCode="m/d/yyyy">
                  <c:v>42404</c:v>
                </c:pt>
                <c:pt idx="3987" formatCode="m/d/yyyy">
                  <c:v>42405</c:v>
                </c:pt>
                <c:pt idx="3988" formatCode="m/d/yyyy">
                  <c:v>42408</c:v>
                </c:pt>
                <c:pt idx="3989" formatCode="m/d/yyyy">
                  <c:v>42409</c:v>
                </c:pt>
                <c:pt idx="3990" formatCode="m/d/yyyy">
                  <c:v>42410</c:v>
                </c:pt>
                <c:pt idx="3991" formatCode="m/d/yyyy">
                  <c:v>42411</c:v>
                </c:pt>
                <c:pt idx="3992" formatCode="m/d/yyyy">
                  <c:v>42412</c:v>
                </c:pt>
                <c:pt idx="3993" formatCode="m/d/yyyy">
                  <c:v>42415</c:v>
                </c:pt>
                <c:pt idx="3994" formatCode="m/d/yyyy">
                  <c:v>42416</c:v>
                </c:pt>
                <c:pt idx="3995" formatCode="m/d/yyyy">
                  <c:v>42417</c:v>
                </c:pt>
                <c:pt idx="3996" formatCode="m/d/yyyy">
                  <c:v>42418</c:v>
                </c:pt>
                <c:pt idx="3997" formatCode="m/d/yyyy">
                  <c:v>42419</c:v>
                </c:pt>
                <c:pt idx="3998" formatCode="m/d/yyyy">
                  <c:v>42422</c:v>
                </c:pt>
                <c:pt idx="3999" formatCode="m/d/yyyy">
                  <c:v>42423</c:v>
                </c:pt>
                <c:pt idx="4000" formatCode="m/d/yyyy">
                  <c:v>42424</c:v>
                </c:pt>
                <c:pt idx="4001" formatCode="m/d/yyyy">
                  <c:v>42425</c:v>
                </c:pt>
                <c:pt idx="4002" formatCode="m/d/yyyy">
                  <c:v>42426</c:v>
                </c:pt>
                <c:pt idx="4003" formatCode="m/d/yyyy">
                  <c:v>42429</c:v>
                </c:pt>
                <c:pt idx="4004" formatCode="m/d/yyyy">
                  <c:v>42430</c:v>
                </c:pt>
                <c:pt idx="4005" formatCode="m/d/yyyy">
                  <c:v>42431</c:v>
                </c:pt>
                <c:pt idx="4006" formatCode="m/d/yyyy">
                  <c:v>42432</c:v>
                </c:pt>
                <c:pt idx="4007" formatCode="m/d/yyyy">
                  <c:v>42433</c:v>
                </c:pt>
                <c:pt idx="4008" formatCode="m/d/yyyy">
                  <c:v>42434</c:v>
                </c:pt>
                <c:pt idx="4009" formatCode="m/d/yyyy">
                  <c:v>42436</c:v>
                </c:pt>
                <c:pt idx="4010" formatCode="m/d/yyyy">
                  <c:v>42437</c:v>
                </c:pt>
                <c:pt idx="4011" formatCode="m/d/yyyy">
                  <c:v>42438</c:v>
                </c:pt>
                <c:pt idx="4012" formatCode="m/d/yyyy">
                  <c:v>42439</c:v>
                </c:pt>
                <c:pt idx="4013" formatCode="m/d/yyyy">
                  <c:v>42440</c:v>
                </c:pt>
                <c:pt idx="4014" formatCode="m/d/yyyy">
                  <c:v>42445</c:v>
                </c:pt>
                <c:pt idx="4015" formatCode="m/d/yyyy">
                  <c:v>42446</c:v>
                </c:pt>
                <c:pt idx="4016" formatCode="m/d/yyyy">
                  <c:v>42447</c:v>
                </c:pt>
                <c:pt idx="4017" formatCode="m/d/yyyy">
                  <c:v>42450</c:v>
                </c:pt>
                <c:pt idx="4018" formatCode="m/d/yyyy">
                  <c:v>42451</c:v>
                </c:pt>
                <c:pt idx="4019" formatCode="m/d/yyyy">
                  <c:v>42452</c:v>
                </c:pt>
                <c:pt idx="4020" formatCode="m/d/yyyy">
                  <c:v>42453</c:v>
                </c:pt>
                <c:pt idx="4021" formatCode="m/d/yyyy">
                  <c:v>42454</c:v>
                </c:pt>
                <c:pt idx="4022" formatCode="m/d/yyyy">
                  <c:v>42458</c:v>
                </c:pt>
                <c:pt idx="4023" formatCode="m/d/yyyy">
                  <c:v>42459</c:v>
                </c:pt>
                <c:pt idx="4024" formatCode="m/d/yyyy">
                  <c:v>42460</c:v>
                </c:pt>
                <c:pt idx="4025" formatCode="m/d/yyyy">
                  <c:v>42461</c:v>
                </c:pt>
                <c:pt idx="4026" formatCode="m/d/yyyy">
                  <c:v>42464</c:v>
                </c:pt>
                <c:pt idx="4027" formatCode="m/d/yyyy">
                  <c:v>42465</c:v>
                </c:pt>
                <c:pt idx="4028" formatCode="m/d/yyyy">
                  <c:v>42466</c:v>
                </c:pt>
                <c:pt idx="4029" formatCode="m/d/yyyy">
                  <c:v>42467</c:v>
                </c:pt>
                <c:pt idx="4030" formatCode="m/d/yyyy">
                  <c:v>42468</c:v>
                </c:pt>
                <c:pt idx="4031" formatCode="m/d/yyyy">
                  <c:v>42471</c:v>
                </c:pt>
                <c:pt idx="4032" formatCode="m/d/yyyy">
                  <c:v>42472</c:v>
                </c:pt>
                <c:pt idx="4033" formatCode="m/d/yyyy">
                  <c:v>42473</c:v>
                </c:pt>
                <c:pt idx="4034" formatCode="m/d/yyyy">
                  <c:v>42474</c:v>
                </c:pt>
                <c:pt idx="4035" formatCode="m/d/yyyy">
                  <c:v>42475</c:v>
                </c:pt>
                <c:pt idx="4036" formatCode="m/d/yyyy">
                  <c:v>42478</c:v>
                </c:pt>
                <c:pt idx="4037" formatCode="m/d/yyyy">
                  <c:v>42479</c:v>
                </c:pt>
                <c:pt idx="4038" formatCode="m/d/yyyy">
                  <c:v>42480</c:v>
                </c:pt>
                <c:pt idx="4039" formatCode="m/d/yyyy">
                  <c:v>42481</c:v>
                </c:pt>
                <c:pt idx="4040" formatCode="m/d/yyyy">
                  <c:v>42482</c:v>
                </c:pt>
                <c:pt idx="4041" formatCode="m/d/yyyy">
                  <c:v>42485</c:v>
                </c:pt>
                <c:pt idx="4042" formatCode="m/d/yyyy">
                  <c:v>42486</c:v>
                </c:pt>
                <c:pt idx="4043" formatCode="m/d/yyyy">
                  <c:v>42487</c:v>
                </c:pt>
                <c:pt idx="4044" formatCode="m/d/yyyy">
                  <c:v>42488</c:v>
                </c:pt>
                <c:pt idx="4045" formatCode="m/d/yyyy">
                  <c:v>42489</c:v>
                </c:pt>
                <c:pt idx="4046" formatCode="m/d/yyyy">
                  <c:v>42492</c:v>
                </c:pt>
                <c:pt idx="4047" formatCode="m/d/yyyy">
                  <c:v>42493</c:v>
                </c:pt>
                <c:pt idx="4048" formatCode="m/d/yyyy">
                  <c:v>42494</c:v>
                </c:pt>
                <c:pt idx="4049" formatCode="m/d/yyyy">
                  <c:v>42495</c:v>
                </c:pt>
                <c:pt idx="4050" formatCode="m/d/yyyy">
                  <c:v>42496</c:v>
                </c:pt>
                <c:pt idx="4051" formatCode="m/d/yyyy">
                  <c:v>42499</c:v>
                </c:pt>
                <c:pt idx="4052" formatCode="m/d/yyyy">
                  <c:v>42500</c:v>
                </c:pt>
                <c:pt idx="4053" formatCode="m/d/yyyy">
                  <c:v>42501</c:v>
                </c:pt>
                <c:pt idx="4054" formatCode="m/d/yyyy">
                  <c:v>42502</c:v>
                </c:pt>
                <c:pt idx="4055" formatCode="m/d/yyyy">
                  <c:v>42503</c:v>
                </c:pt>
                <c:pt idx="4056" formatCode="m/d/yyyy">
                  <c:v>42504</c:v>
                </c:pt>
                <c:pt idx="4057" formatCode="m/d/yyyy">
                  <c:v>42505</c:v>
                </c:pt>
                <c:pt idx="4058" formatCode="m/d/yyyy">
                  <c:v>42506</c:v>
                </c:pt>
                <c:pt idx="4059" formatCode="m/d/yyyy">
                  <c:v>42507</c:v>
                </c:pt>
                <c:pt idx="4060" formatCode="m/d/yyyy">
                  <c:v>42508</c:v>
                </c:pt>
                <c:pt idx="4061" formatCode="m/d/yyyy">
                  <c:v>42509</c:v>
                </c:pt>
                <c:pt idx="4062" formatCode="m/d/yyyy">
                  <c:v>42510</c:v>
                </c:pt>
                <c:pt idx="4063" formatCode="m/d/yyyy">
                  <c:v>42511</c:v>
                </c:pt>
                <c:pt idx="4064" formatCode="m/d/yyyy">
                  <c:v>42512</c:v>
                </c:pt>
              </c:numCache>
            </c:numRef>
          </c:cat>
          <c:val>
            <c:numRef>
              <c:f>Munka1!$B$2:$B$4066</c:f>
              <c:numCache>
                <c:formatCode>General</c:formatCode>
                <c:ptCount val="4065"/>
                <c:pt idx="0">
                  <c:v>13.54</c:v>
                </c:pt>
                <c:pt idx="1">
                  <c:v>13.41</c:v>
                </c:pt>
                <c:pt idx="2">
                  <c:v>13.36</c:v>
                </c:pt>
                <c:pt idx="3">
                  <c:v>13.31</c:v>
                </c:pt>
                <c:pt idx="4">
                  <c:v>13.25</c:v>
                </c:pt>
                <c:pt idx="5">
                  <c:v>13.25</c:v>
                </c:pt>
                <c:pt idx="6">
                  <c:v>13.24</c:v>
                </c:pt>
                <c:pt idx="7">
                  <c:v>13.25</c:v>
                </c:pt>
                <c:pt idx="8">
                  <c:v>13.25</c:v>
                </c:pt>
                <c:pt idx="9">
                  <c:v>13.25</c:v>
                </c:pt>
                <c:pt idx="10">
                  <c:v>13.25</c:v>
                </c:pt>
                <c:pt idx="11">
                  <c:v>12.32</c:v>
                </c:pt>
                <c:pt idx="12">
                  <c:v>12.14</c:v>
                </c:pt>
                <c:pt idx="13">
                  <c:v>12.11</c:v>
                </c:pt>
                <c:pt idx="14">
                  <c:v>12.1</c:v>
                </c:pt>
                <c:pt idx="15">
                  <c:v>12.1</c:v>
                </c:pt>
                <c:pt idx="16">
                  <c:v>12.1</c:v>
                </c:pt>
                <c:pt idx="17">
                  <c:v>12.1</c:v>
                </c:pt>
                <c:pt idx="18">
                  <c:v>12.05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.96</c:v>
                </c:pt>
                <c:pt idx="24">
                  <c:v>11.94</c:v>
                </c:pt>
                <c:pt idx="25">
                  <c:v>11.94</c:v>
                </c:pt>
                <c:pt idx="26">
                  <c:v>11.94</c:v>
                </c:pt>
                <c:pt idx="27">
                  <c:v>11.91</c:v>
                </c:pt>
                <c:pt idx="28">
                  <c:v>11.9</c:v>
                </c:pt>
                <c:pt idx="29">
                  <c:v>11.88</c:v>
                </c:pt>
                <c:pt idx="30">
                  <c:v>11.86</c:v>
                </c:pt>
                <c:pt idx="31">
                  <c:v>11.39</c:v>
                </c:pt>
                <c:pt idx="32">
                  <c:v>11.34</c:v>
                </c:pt>
                <c:pt idx="33">
                  <c:v>11.3</c:v>
                </c:pt>
                <c:pt idx="34">
                  <c:v>11.28</c:v>
                </c:pt>
                <c:pt idx="35">
                  <c:v>11.21</c:v>
                </c:pt>
                <c:pt idx="36">
                  <c:v>11.16</c:v>
                </c:pt>
                <c:pt idx="37">
                  <c:v>11.1</c:v>
                </c:pt>
                <c:pt idx="38">
                  <c:v>11.06</c:v>
                </c:pt>
                <c:pt idx="39">
                  <c:v>11.05</c:v>
                </c:pt>
                <c:pt idx="40">
                  <c:v>11.01</c:v>
                </c:pt>
                <c:pt idx="41">
                  <c:v>10.96</c:v>
                </c:pt>
                <c:pt idx="42">
                  <c:v>10.94</c:v>
                </c:pt>
                <c:pt idx="43">
                  <c:v>10.91</c:v>
                </c:pt>
                <c:pt idx="44">
                  <c:v>10.9</c:v>
                </c:pt>
                <c:pt idx="45">
                  <c:v>10.91</c:v>
                </c:pt>
                <c:pt idx="46">
                  <c:v>10.9</c:v>
                </c:pt>
                <c:pt idx="47">
                  <c:v>10.91</c:v>
                </c:pt>
                <c:pt idx="48">
                  <c:v>10.94</c:v>
                </c:pt>
                <c:pt idx="49">
                  <c:v>11.01</c:v>
                </c:pt>
                <c:pt idx="50">
                  <c:v>11.14</c:v>
                </c:pt>
                <c:pt idx="51">
                  <c:v>11.18</c:v>
                </c:pt>
                <c:pt idx="52">
                  <c:v>11.2</c:v>
                </c:pt>
                <c:pt idx="53">
                  <c:v>11.16</c:v>
                </c:pt>
                <c:pt idx="54">
                  <c:v>11.15</c:v>
                </c:pt>
                <c:pt idx="55">
                  <c:v>11.13</c:v>
                </c:pt>
                <c:pt idx="56">
                  <c:v>10.88</c:v>
                </c:pt>
                <c:pt idx="57">
                  <c:v>10.85</c:v>
                </c:pt>
                <c:pt idx="58">
                  <c:v>10.83</c:v>
                </c:pt>
                <c:pt idx="59">
                  <c:v>10.84</c:v>
                </c:pt>
                <c:pt idx="60">
                  <c:v>10.85</c:v>
                </c:pt>
                <c:pt idx="61">
                  <c:v>10.9</c:v>
                </c:pt>
                <c:pt idx="62">
                  <c:v>10.91</c:v>
                </c:pt>
                <c:pt idx="63">
                  <c:v>10.91</c:v>
                </c:pt>
                <c:pt idx="64">
                  <c:v>10.91</c:v>
                </c:pt>
                <c:pt idx="65">
                  <c:v>11.01</c:v>
                </c:pt>
                <c:pt idx="66">
                  <c:v>11.01</c:v>
                </c:pt>
                <c:pt idx="67">
                  <c:v>11.03</c:v>
                </c:pt>
                <c:pt idx="68">
                  <c:v>11.03</c:v>
                </c:pt>
                <c:pt idx="69">
                  <c:v>11.03</c:v>
                </c:pt>
                <c:pt idx="70">
                  <c:v>11</c:v>
                </c:pt>
                <c:pt idx="71">
                  <c:v>11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0.93</c:v>
                </c:pt>
                <c:pt idx="79">
                  <c:v>10.94</c:v>
                </c:pt>
                <c:pt idx="80">
                  <c:v>10.94</c:v>
                </c:pt>
                <c:pt idx="81">
                  <c:v>10.95</c:v>
                </c:pt>
                <c:pt idx="82">
                  <c:v>10.95</c:v>
                </c:pt>
                <c:pt idx="83">
                  <c:v>10.95</c:v>
                </c:pt>
                <c:pt idx="84">
                  <c:v>10.95</c:v>
                </c:pt>
                <c:pt idx="85">
                  <c:v>10.95</c:v>
                </c:pt>
                <c:pt idx="86">
                  <c:v>10.95</c:v>
                </c:pt>
                <c:pt idx="87">
                  <c:v>10.95</c:v>
                </c:pt>
                <c:pt idx="88">
                  <c:v>10.95</c:v>
                </c:pt>
                <c:pt idx="89">
                  <c:v>10.95</c:v>
                </c:pt>
                <c:pt idx="90">
                  <c:v>10.95</c:v>
                </c:pt>
                <c:pt idx="91">
                  <c:v>10.95</c:v>
                </c:pt>
                <c:pt idx="92">
                  <c:v>10.95</c:v>
                </c:pt>
                <c:pt idx="93">
                  <c:v>10.95</c:v>
                </c:pt>
                <c:pt idx="94">
                  <c:v>10.95</c:v>
                </c:pt>
                <c:pt idx="95">
                  <c:v>10.95</c:v>
                </c:pt>
                <c:pt idx="96">
                  <c:v>10.95</c:v>
                </c:pt>
                <c:pt idx="97">
                  <c:v>10.95</c:v>
                </c:pt>
                <c:pt idx="98">
                  <c:v>10.95</c:v>
                </c:pt>
                <c:pt idx="99">
                  <c:v>11</c:v>
                </c:pt>
                <c:pt idx="100">
                  <c:v>11.03</c:v>
                </c:pt>
                <c:pt idx="101">
                  <c:v>11.03</c:v>
                </c:pt>
                <c:pt idx="102">
                  <c:v>11.05</c:v>
                </c:pt>
                <c:pt idx="103">
                  <c:v>11.05</c:v>
                </c:pt>
                <c:pt idx="104">
                  <c:v>11.05</c:v>
                </c:pt>
                <c:pt idx="105">
                  <c:v>11.05</c:v>
                </c:pt>
                <c:pt idx="106">
                  <c:v>11.05</c:v>
                </c:pt>
                <c:pt idx="107">
                  <c:v>11.05</c:v>
                </c:pt>
                <c:pt idx="108">
                  <c:v>11.05</c:v>
                </c:pt>
                <c:pt idx="109">
                  <c:v>11.05</c:v>
                </c:pt>
                <c:pt idx="110">
                  <c:v>11.05</c:v>
                </c:pt>
                <c:pt idx="111">
                  <c:v>11.05</c:v>
                </c:pt>
                <c:pt idx="112">
                  <c:v>11.08</c:v>
                </c:pt>
                <c:pt idx="113">
                  <c:v>11.11</c:v>
                </c:pt>
                <c:pt idx="114">
                  <c:v>11.1</c:v>
                </c:pt>
                <c:pt idx="115">
                  <c:v>11.09</c:v>
                </c:pt>
                <c:pt idx="116">
                  <c:v>11.08</c:v>
                </c:pt>
                <c:pt idx="117">
                  <c:v>11.09</c:v>
                </c:pt>
                <c:pt idx="118">
                  <c:v>11.09</c:v>
                </c:pt>
                <c:pt idx="119">
                  <c:v>11.08</c:v>
                </c:pt>
                <c:pt idx="120">
                  <c:v>11.08</c:v>
                </c:pt>
                <c:pt idx="121">
                  <c:v>11.06</c:v>
                </c:pt>
                <c:pt idx="122">
                  <c:v>11.05</c:v>
                </c:pt>
                <c:pt idx="123">
                  <c:v>10.95</c:v>
                </c:pt>
                <c:pt idx="124">
                  <c:v>10.93</c:v>
                </c:pt>
                <c:pt idx="125">
                  <c:v>10.89</c:v>
                </c:pt>
                <c:pt idx="126">
                  <c:v>10.89</c:v>
                </c:pt>
                <c:pt idx="127">
                  <c:v>10.89</c:v>
                </c:pt>
                <c:pt idx="128">
                  <c:v>10.89</c:v>
                </c:pt>
                <c:pt idx="129">
                  <c:v>10.88</c:v>
                </c:pt>
                <c:pt idx="130">
                  <c:v>10.88</c:v>
                </c:pt>
                <c:pt idx="131">
                  <c:v>10.88</c:v>
                </c:pt>
                <c:pt idx="132">
                  <c:v>10.88</c:v>
                </c:pt>
                <c:pt idx="133">
                  <c:v>10.88</c:v>
                </c:pt>
                <c:pt idx="134">
                  <c:v>10.88</c:v>
                </c:pt>
                <c:pt idx="135">
                  <c:v>10.88</c:v>
                </c:pt>
                <c:pt idx="136">
                  <c:v>10.88</c:v>
                </c:pt>
                <c:pt idx="137">
                  <c:v>10.88</c:v>
                </c:pt>
                <c:pt idx="138">
                  <c:v>10.89</c:v>
                </c:pt>
                <c:pt idx="139">
                  <c:v>10.89</c:v>
                </c:pt>
                <c:pt idx="140">
                  <c:v>10.89</c:v>
                </c:pt>
                <c:pt idx="141">
                  <c:v>10.89</c:v>
                </c:pt>
                <c:pt idx="142">
                  <c:v>10.9</c:v>
                </c:pt>
                <c:pt idx="143">
                  <c:v>10.9</c:v>
                </c:pt>
                <c:pt idx="144">
                  <c:v>10.9</c:v>
                </c:pt>
                <c:pt idx="145">
                  <c:v>10.89</c:v>
                </c:pt>
                <c:pt idx="146">
                  <c:v>10.89</c:v>
                </c:pt>
                <c:pt idx="147">
                  <c:v>10.89</c:v>
                </c:pt>
                <c:pt idx="148">
                  <c:v>10.89</c:v>
                </c:pt>
                <c:pt idx="149">
                  <c:v>10.89</c:v>
                </c:pt>
                <c:pt idx="150">
                  <c:v>10.76</c:v>
                </c:pt>
                <c:pt idx="151">
                  <c:v>10.75</c:v>
                </c:pt>
                <c:pt idx="152">
                  <c:v>10.75</c:v>
                </c:pt>
                <c:pt idx="153">
                  <c:v>10.75</c:v>
                </c:pt>
                <c:pt idx="154">
                  <c:v>10.76</c:v>
                </c:pt>
                <c:pt idx="155">
                  <c:v>10.76</c:v>
                </c:pt>
                <c:pt idx="156">
                  <c:v>10.76</c:v>
                </c:pt>
                <c:pt idx="157">
                  <c:v>10.76</c:v>
                </c:pt>
                <c:pt idx="158">
                  <c:v>10.76</c:v>
                </c:pt>
                <c:pt idx="159">
                  <c:v>10.76</c:v>
                </c:pt>
                <c:pt idx="160">
                  <c:v>10.76</c:v>
                </c:pt>
                <c:pt idx="161">
                  <c:v>10.76</c:v>
                </c:pt>
                <c:pt idx="162">
                  <c:v>10.76</c:v>
                </c:pt>
                <c:pt idx="163">
                  <c:v>10.76</c:v>
                </c:pt>
                <c:pt idx="164">
                  <c:v>10.76</c:v>
                </c:pt>
                <c:pt idx="165">
                  <c:v>10.76</c:v>
                </c:pt>
                <c:pt idx="166">
                  <c:v>10.76</c:v>
                </c:pt>
                <c:pt idx="167">
                  <c:v>10.78</c:v>
                </c:pt>
                <c:pt idx="168">
                  <c:v>10.8</c:v>
                </c:pt>
                <c:pt idx="169">
                  <c:v>10.8</c:v>
                </c:pt>
                <c:pt idx="170">
                  <c:v>10.8</c:v>
                </c:pt>
                <c:pt idx="171">
                  <c:v>10.83</c:v>
                </c:pt>
                <c:pt idx="172">
                  <c:v>10.85</c:v>
                </c:pt>
                <c:pt idx="173">
                  <c:v>10.86</c:v>
                </c:pt>
                <c:pt idx="174">
                  <c:v>10.86</c:v>
                </c:pt>
                <c:pt idx="175">
                  <c:v>10.85</c:v>
                </c:pt>
                <c:pt idx="176">
                  <c:v>10.88</c:v>
                </c:pt>
                <c:pt idx="177">
                  <c:v>10.9</c:v>
                </c:pt>
                <c:pt idx="178">
                  <c:v>10.9</c:v>
                </c:pt>
                <c:pt idx="179">
                  <c:v>10.93</c:v>
                </c:pt>
                <c:pt idx="180">
                  <c:v>10.91</c:v>
                </c:pt>
                <c:pt idx="181">
                  <c:v>10.95</c:v>
                </c:pt>
                <c:pt idx="182">
                  <c:v>10.96</c:v>
                </c:pt>
                <c:pt idx="183">
                  <c:v>10.99</c:v>
                </c:pt>
                <c:pt idx="184">
                  <c:v>11.06</c:v>
                </c:pt>
                <c:pt idx="185">
                  <c:v>11.1</c:v>
                </c:pt>
                <c:pt idx="186">
                  <c:v>11.06</c:v>
                </c:pt>
                <c:pt idx="187">
                  <c:v>11.03</c:v>
                </c:pt>
                <c:pt idx="188">
                  <c:v>11.02</c:v>
                </c:pt>
                <c:pt idx="189">
                  <c:v>11.04</c:v>
                </c:pt>
                <c:pt idx="190">
                  <c:v>11.05</c:v>
                </c:pt>
                <c:pt idx="191">
                  <c:v>11.05</c:v>
                </c:pt>
                <c:pt idx="192">
                  <c:v>11.1</c:v>
                </c:pt>
                <c:pt idx="193">
                  <c:v>11.1</c:v>
                </c:pt>
                <c:pt idx="194">
                  <c:v>11.09</c:v>
                </c:pt>
                <c:pt idx="195">
                  <c:v>11.09</c:v>
                </c:pt>
                <c:pt idx="196">
                  <c:v>11.17</c:v>
                </c:pt>
                <c:pt idx="197">
                  <c:v>11.92</c:v>
                </c:pt>
                <c:pt idx="198">
                  <c:v>11.94</c:v>
                </c:pt>
                <c:pt idx="199">
                  <c:v>11.94</c:v>
                </c:pt>
                <c:pt idx="200">
                  <c:v>11.94</c:v>
                </c:pt>
                <c:pt idx="201">
                  <c:v>12.03</c:v>
                </c:pt>
                <c:pt idx="202">
                  <c:v>12.09</c:v>
                </c:pt>
                <c:pt idx="203">
                  <c:v>12.06</c:v>
                </c:pt>
                <c:pt idx="204">
                  <c:v>12.05</c:v>
                </c:pt>
                <c:pt idx="205">
                  <c:v>12.03</c:v>
                </c:pt>
                <c:pt idx="206">
                  <c:v>12</c:v>
                </c:pt>
                <c:pt idx="207">
                  <c:v>11.99</c:v>
                </c:pt>
                <c:pt idx="208">
                  <c:v>11.96</c:v>
                </c:pt>
                <c:pt idx="209">
                  <c:v>12.02</c:v>
                </c:pt>
                <c:pt idx="210">
                  <c:v>12</c:v>
                </c:pt>
                <c:pt idx="211">
                  <c:v>12.01</c:v>
                </c:pt>
                <c:pt idx="212">
                  <c:v>12</c:v>
                </c:pt>
                <c:pt idx="213">
                  <c:v>12.01</c:v>
                </c:pt>
                <c:pt idx="214">
                  <c:v>12.01</c:v>
                </c:pt>
                <c:pt idx="215">
                  <c:v>12.01</c:v>
                </c:pt>
                <c:pt idx="216">
                  <c:v>12.02</c:v>
                </c:pt>
                <c:pt idx="217">
                  <c:v>12.03</c:v>
                </c:pt>
                <c:pt idx="218">
                  <c:v>12.03</c:v>
                </c:pt>
                <c:pt idx="219">
                  <c:v>12.04</c:v>
                </c:pt>
                <c:pt idx="220">
                  <c:v>12.04</c:v>
                </c:pt>
                <c:pt idx="221">
                  <c:v>12.04</c:v>
                </c:pt>
                <c:pt idx="222">
                  <c:v>12.04</c:v>
                </c:pt>
                <c:pt idx="223">
                  <c:v>12.04</c:v>
                </c:pt>
                <c:pt idx="224">
                  <c:v>12.03</c:v>
                </c:pt>
                <c:pt idx="225">
                  <c:v>12.01</c:v>
                </c:pt>
                <c:pt idx="226">
                  <c:v>12.03</c:v>
                </c:pt>
                <c:pt idx="227">
                  <c:v>12.03</c:v>
                </c:pt>
                <c:pt idx="228">
                  <c:v>12.01</c:v>
                </c:pt>
                <c:pt idx="229">
                  <c:v>12.01</c:v>
                </c:pt>
                <c:pt idx="230">
                  <c:v>12.01</c:v>
                </c:pt>
                <c:pt idx="231">
                  <c:v>12.01</c:v>
                </c:pt>
                <c:pt idx="232">
                  <c:v>12.03</c:v>
                </c:pt>
                <c:pt idx="233">
                  <c:v>12.03</c:v>
                </c:pt>
                <c:pt idx="234">
                  <c:v>12.04</c:v>
                </c:pt>
                <c:pt idx="235">
                  <c:v>12.04</c:v>
                </c:pt>
                <c:pt idx="236">
                  <c:v>12.05</c:v>
                </c:pt>
                <c:pt idx="237">
                  <c:v>12.05</c:v>
                </c:pt>
                <c:pt idx="238">
                  <c:v>12.1</c:v>
                </c:pt>
                <c:pt idx="239">
                  <c:v>12.09</c:v>
                </c:pt>
                <c:pt idx="240">
                  <c:v>12.08</c:v>
                </c:pt>
                <c:pt idx="241">
                  <c:v>12.09</c:v>
                </c:pt>
                <c:pt idx="242">
                  <c:v>12.06</c:v>
                </c:pt>
                <c:pt idx="243">
                  <c:v>12.05</c:v>
                </c:pt>
                <c:pt idx="244">
                  <c:v>12.05</c:v>
                </c:pt>
                <c:pt idx="245">
                  <c:v>12.05</c:v>
                </c:pt>
                <c:pt idx="246">
                  <c:v>12.05</c:v>
                </c:pt>
                <c:pt idx="247">
                  <c:v>12.05</c:v>
                </c:pt>
                <c:pt idx="248">
                  <c:v>12.04</c:v>
                </c:pt>
                <c:pt idx="249">
                  <c:v>11.99</c:v>
                </c:pt>
                <c:pt idx="250" formatCode="0.00">
                  <c:v>11.79</c:v>
                </c:pt>
                <c:pt idx="251" formatCode="0.00">
                  <c:v>11.78</c:v>
                </c:pt>
                <c:pt idx="252" formatCode="0.00">
                  <c:v>11.75</c:v>
                </c:pt>
                <c:pt idx="253" formatCode="0.00">
                  <c:v>11.73</c:v>
                </c:pt>
                <c:pt idx="254" formatCode="0.00">
                  <c:v>11.49</c:v>
                </c:pt>
                <c:pt idx="255" formatCode="0.00">
                  <c:v>11.5</c:v>
                </c:pt>
                <c:pt idx="256" formatCode="0.00">
                  <c:v>11.49</c:v>
                </c:pt>
                <c:pt idx="257" formatCode="0.00">
                  <c:v>11.44</c:v>
                </c:pt>
                <c:pt idx="258" formatCode="0.00">
                  <c:v>11.4</c:v>
                </c:pt>
                <c:pt idx="259" formatCode="0.00">
                  <c:v>11.34</c:v>
                </c:pt>
                <c:pt idx="260" formatCode="0.00">
                  <c:v>11.28</c:v>
                </c:pt>
                <c:pt idx="261" formatCode="0.00">
                  <c:v>11.29</c:v>
                </c:pt>
                <c:pt idx="262" formatCode="0.00">
                  <c:v>11.3</c:v>
                </c:pt>
                <c:pt idx="263" formatCode="0.00">
                  <c:v>11.31</c:v>
                </c:pt>
                <c:pt idx="264" formatCode="0.00">
                  <c:v>11.35</c:v>
                </c:pt>
                <c:pt idx="265" formatCode="0.00">
                  <c:v>11.35</c:v>
                </c:pt>
                <c:pt idx="266" formatCode="0.00">
                  <c:v>11.35</c:v>
                </c:pt>
                <c:pt idx="267" formatCode="0.00">
                  <c:v>11.34</c:v>
                </c:pt>
                <c:pt idx="268" formatCode="0.00">
                  <c:v>11.31</c:v>
                </c:pt>
                <c:pt idx="269" formatCode="0.00">
                  <c:v>11.3</c:v>
                </c:pt>
                <c:pt idx="270" formatCode="0.00">
                  <c:v>11.3</c:v>
                </c:pt>
                <c:pt idx="271" formatCode="0.00">
                  <c:v>11.29</c:v>
                </c:pt>
                <c:pt idx="272" formatCode="0.00">
                  <c:v>11.28</c:v>
                </c:pt>
                <c:pt idx="273" formatCode="0.00">
                  <c:v>11.13</c:v>
                </c:pt>
                <c:pt idx="274" formatCode="0.00">
                  <c:v>11.03</c:v>
                </c:pt>
                <c:pt idx="275" formatCode="0.00">
                  <c:v>10.98</c:v>
                </c:pt>
                <c:pt idx="276" formatCode="0.00">
                  <c:v>11</c:v>
                </c:pt>
                <c:pt idx="277" formatCode="0.00">
                  <c:v>11.01</c:v>
                </c:pt>
                <c:pt idx="278" formatCode="0.00">
                  <c:v>11.01</c:v>
                </c:pt>
                <c:pt idx="279" formatCode="0.00">
                  <c:v>11</c:v>
                </c:pt>
                <c:pt idx="280" formatCode="0.00">
                  <c:v>11.06</c:v>
                </c:pt>
                <c:pt idx="281" formatCode="0.00">
                  <c:v>11.06</c:v>
                </c:pt>
                <c:pt idx="282" formatCode="0.00">
                  <c:v>11.1</c:v>
                </c:pt>
                <c:pt idx="283" formatCode="0.00">
                  <c:v>11.15</c:v>
                </c:pt>
                <c:pt idx="284" formatCode="0.00">
                  <c:v>11.26</c:v>
                </c:pt>
                <c:pt idx="285" formatCode="0.00">
                  <c:v>11.25</c:v>
                </c:pt>
                <c:pt idx="286" formatCode="0.00">
                  <c:v>11.24</c:v>
                </c:pt>
                <c:pt idx="287" formatCode="0.00">
                  <c:v>11.23</c:v>
                </c:pt>
                <c:pt idx="288" formatCode="0.00">
                  <c:v>11.2</c:v>
                </c:pt>
                <c:pt idx="289" formatCode="0.00">
                  <c:v>11.2</c:v>
                </c:pt>
                <c:pt idx="290" formatCode="0.00">
                  <c:v>11.15</c:v>
                </c:pt>
                <c:pt idx="291" formatCode="0.00">
                  <c:v>11.14</c:v>
                </c:pt>
                <c:pt idx="292" formatCode="0.00">
                  <c:v>11.11</c:v>
                </c:pt>
                <c:pt idx="293" formatCode="0.00">
                  <c:v>11.13</c:v>
                </c:pt>
                <c:pt idx="294" formatCode="0.00">
                  <c:v>11.13</c:v>
                </c:pt>
                <c:pt idx="295" formatCode="0.00">
                  <c:v>11.11</c:v>
                </c:pt>
                <c:pt idx="296" formatCode="0.00">
                  <c:v>11.13</c:v>
                </c:pt>
                <c:pt idx="297" formatCode="0.00">
                  <c:v>11.15</c:v>
                </c:pt>
                <c:pt idx="298" formatCode="0.00">
                  <c:v>11.15</c:v>
                </c:pt>
                <c:pt idx="299" formatCode="0.00">
                  <c:v>11.15</c:v>
                </c:pt>
                <c:pt idx="300" formatCode="0.00">
                  <c:v>11.15</c:v>
                </c:pt>
                <c:pt idx="301" formatCode="0.00">
                  <c:v>11.15</c:v>
                </c:pt>
                <c:pt idx="302" formatCode="0.00">
                  <c:v>11.15</c:v>
                </c:pt>
                <c:pt idx="303" formatCode="0.00">
                  <c:v>11.15</c:v>
                </c:pt>
                <c:pt idx="304" formatCode="0.00">
                  <c:v>11.21</c:v>
                </c:pt>
                <c:pt idx="305" formatCode="0.00">
                  <c:v>11.24</c:v>
                </c:pt>
                <c:pt idx="306" formatCode="0.00">
                  <c:v>11.25</c:v>
                </c:pt>
                <c:pt idx="307" formatCode="0.00">
                  <c:v>11.25</c:v>
                </c:pt>
                <c:pt idx="308" formatCode="0.00">
                  <c:v>11.26</c:v>
                </c:pt>
                <c:pt idx="309" formatCode="0.00">
                  <c:v>11.29</c:v>
                </c:pt>
                <c:pt idx="310" formatCode="0.00">
                  <c:v>11.34</c:v>
                </c:pt>
                <c:pt idx="311" formatCode="0.00">
                  <c:v>11.35</c:v>
                </c:pt>
                <c:pt idx="312" formatCode="0.00">
                  <c:v>11.35</c:v>
                </c:pt>
                <c:pt idx="313" formatCode="0.00">
                  <c:v>11.35</c:v>
                </c:pt>
                <c:pt idx="314" formatCode="0.00">
                  <c:v>11.35</c:v>
                </c:pt>
                <c:pt idx="315" formatCode="0.00">
                  <c:v>11.35</c:v>
                </c:pt>
                <c:pt idx="316" formatCode="0.00">
                  <c:v>11.35</c:v>
                </c:pt>
                <c:pt idx="317" formatCode="0.00">
                  <c:v>11.35</c:v>
                </c:pt>
                <c:pt idx="318" formatCode="0.00">
                  <c:v>11.35</c:v>
                </c:pt>
                <c:pt idx="319" formatCode="0.00">
                  <c:v>11.35</c:v>
                </c:pt>
                <c:pt idx="320" formatCode="0.00">
                  <c:v>11.35</c:v>
                </c:pt>
                <c:pt idx="321" formatCode="0.00">
                  <c:v>11.35</c:v>
                </c:pt>
                <c:pt idx="322" formatCode="0.00">
                  <c:v>11.35</c:v>
                </c:pt>
                <c:pt idx="323" formatCode="0.00">
                  <c:v>11.35</c:v>
                </c:pt>
                <c:pt idx="324" formatCode="0.00">
                  <c:v>11.35</c:v>
                </c:pt>
                <c:pt idx="325" formatCode="0.00">
                  <c:v>11.33</c:v>
                </c:pt>
                <c:pt idx="326" formatCode="0.00">
                  <c:v>11.3</c:v>
                </c:pt>
                <c:pt idx="327" formatCode="0.00">
                  <c:v>11.29</c:v>
                </c:pt>
                <c:pt idx="328" formatCode="0.00">
                  <c:v>11.29</c:v>
                </c:pt>
                <c:pt idx="329" formatCode="0.00">
                  <c:v>11.3</c:v>
                </c:pt>
                <c:pt idx="330" formatCode="0.00">
                  <c:v>11.3</c:v>
                </c:pt>
                <c:pt idx="331" formatCode="0.00">
                  <c:v>11.3</c:v>
                </c:pt>
                <c:pt idx="332" formatCode="0.00">
                  <c:v>11.3</c:v>
                </c:pt>
                <c:pt idx="333" formatCode="0.00">
                  <c:v>11.3</c:v>
                </c:pt>
                <c:pt idx="334" formatCode="0.00">
                  <c:v>11.3</c:v>
                </c:pt>
                <c:pt idx="335" formatCode="0.00">
                  <c:v>11.49</c:v>
                </c:pt>
                <c:pt idx="336" formatCode="0.00">
                  <c:v>11.44</c:v>
                </c:pt>
                <c:pt idx="337" formatCode="0.00">
                  <c:v>11.4</c:v>
                </c:pt>
                <c:pt idx="338" formatCode="0.00">
                  <c:v>11.35</c:v>
                </c:pt>
                <c:pt idx="339" formatCode="0.00">
                  <c:v>11.34</c:v>
                </c:pt>
                <c:pt idx="340" formatCode="0.00">
                  <c:v>11.25</c:v>
                </c:pt>
                <c:pt idx="341" formatCode="0.00">
                  <c:v>11.2</c:v>
                </c:pt>
                <c:pt idx="342" formatCode="0.00">
                  <c:v>11.18</c:v>
                </c:pt>
                <c:pt idx="343" formatCode="0.00">
                  <c:v>11.15</c:v>
                </c:pt>
                <c:pt idx="344" formatCode="0.00">
                  <c:v>11.15</c:v>
                </c:pt>
                <c:pt idx="345" formatCode="0.00">
                  <c:v>11.15</c:v>
                </c:pt>
                <c:pt idx="346" formatCode="0.00">
                  <c:v>11.13</c:v>
                </c:pt>
                <c:pt idx="347" formatCode="0.00">
                  <c:v>11.14</c:v>
                </c:pt>
                <c:pt idx="348" formatCode="0.00">
                  <c:v>11.15</c:v>
                </c:pt>
                <c:pt idx="349" formatCode="0.00">
                  <c:v>11.19</c:v>
                </c:pt>
                <c:pt idx="350" formatCode="0.00">
                  <c:v>11.21</c:v>
                </c:pt>
                <c:pt idx="351" formatCode="0.00">
                  <c:v>11.21</c:v>
                </c:pt>
                <c:pt idx="352" formatCode="0.00">
                  <c:v>11.2</c:v>
                </c:pt>
                <c:pt idx="353" formatCode="0.00">
                  <c:v>11.15</c:v>
                </c:pt>
                <c:pt idx="354" formatCode="0.00">
                  <c:v>11.15</c:v>
                </c:pt>
                <c:pt idx="355" formatCode="0.00">
                  <c:v>11.15</c:v>
                </c:pt>
                <c:pt idx="356" formatCode="0.00">
                  <c:v>11.14</c:v>
                </c:pt>
                <c:pt idx="357" formatCode="0.00">
                  <c:v>11.13</c:v>
                </c:pt>
                <c:pt idx="358" formatCode="0.00">
                  <c:v>11.13</c:v>
                </c:pt>
                <c:pt idx="359" formatCode="0.00">
                  <c:v>11.15</c:v>
                </c:pt>
                <c:pt idx="360" formatCode="0.00">
                  <c:v>11.15</c:v>
                </c:pt>
                <c:pt idx="361" formatCode="0.00">
                  <c:v>11.14</c:v>
                </c:pt>
                <c:pt idx="362" formatCode="0.00">
                  <c:v>11.14</c:v>
                </c:pt>
                <c:pt idx="363" formatCode="0.00">
                  <c:v>11.1</c:v>
                </c:pt>
                <c:pt idx="364" formatCode="0.00">
                  <c:v>11.08</c:v>
                </c:pt>
                <c:pt idx="365" formatCode="0.00">
                  <c:v>11.04</c:v>
                </c:pt>
                <c:pt idx="366" formatCode="0.00">
                  <c:v>10.98</c:v>
                </c:pt>
                <c:pt idx="367" formatCode="0.00">
                  <c:v>10.91</c:v>
                </c:pt>
                <c:pt idx="368" formatCode="0.00">
                  <c:v>10.95</c:v>
                </c:pt>
                <c:pt idx="369" formatCode="0.00">
                  <c:v>10.95</c:v>
                </c:pt>
                <c:pt idx="370" formatCode="0.00">
                  <c:v>10.96</c:v>
                </c:pt>
                <c:pt idx="371" formatCode="0.00">
                  <c:v>10.96</c:v>
                </c:pt>
                <c:pt idx="372" formatCode="0.00">
                  <c:v>10.95</c:v>
                </c:pt>
                <c:pt idx="373" formatCode="0.00">
                  <c:v>10.95</c:v>
                </c:pt>
                <c:pt idx="374" formatCode="0.00">
                  <c:v>10.96</c:v>
                </c:pt>
                <c:pt idx="375" formatCode="0.00">
                  <c:v>10.99</c:v>
                </c:pt>
                <c:pt idx="376" formatCode="0.00">
                  <c:v>11.09</c:v>
                </c:pt>
                <c:pt idx="377" formatCode="0.00">
                  <c:v>11.06</c:v>
                </c:pt>
                <c:pt idx="378" formatCode="0.00">
                  <c:v>11.06</c:v>
                </c:pt>
                <c:pt idx="379" formatCode="0.00">
                  <c:v>11.1</c:v>
                </c:pt>
                <c:pt idx="380">
                  <c:v>11.28</c:v>
                </c:pt>
                <c:pt idx="381">
                  <c:v>11.18</c:v>
                </c:pt>
                <c:pt idx="382" formatCode="0.00">
                  <c:v>11.3</c:v>
                </c:pt>
                <c:pt idx="383">
                  <c:v>11.23</c:v>
                </c:pt>
                <c:pt idx="384">
                  <c:v>11.23</c:v>
                </c:pt>
                <c:pt idx="385">
                  <c:v>11.25</c:v>
                </c:pt>
                <c:pt idx="386" formatCode="0.00">
                  <c:v>11.3</c:v>
                </c:pt>
                <c:pt idx="387">
                  <c:v>11.18</c:v>
                </c:pt>
                <c:pt idx="388">
                  <c:v>11.15</c:v>
                </c:pt>
                <c:pt idx="389">
                  <c:v>11.14</c:v>
                </c:pt>
                <c:pt idx="390" formatCode="0.00">
                  <c:v>11.1</c:v>
                </c:pt>
                <c:pt idx="391">
                  <c:v>11.09</c:v>
                </c:pt>
                <c:pt idx="392">
                  <c:v>11.06</c:v>
                </c:pt>
                <c:pt idx="393" formatCode="0.00">
                  <c:v>11.04</c:v>
                </c:pt>
                <c:pt idx="394" formatCode="0.00">
                  <c:v>11.03</c:v>
                </c:pt>
                <c:pt idx="395" formatCode="0.00">
                  <c:v>11</c:v>
                </c:pt>
                <c:pt idx="396" formatCode="0.00">
                  <c:v>11</c:v>
                </c:pt>
                <c:pt idx="397" formatCode="0.00">
                  <c:v>11</c:v>
                </c:pt>
                <c:pt idx="398" formatCode="0.00">
                  <c:v>11</c:v>
                </c:pt>
                <c:pt idx="399" formatCode="0.00">
                  <c:v>11</c:v>
                </c:pt>
                <c:pt idx="400" formatCode="0.00">
                  <c:v>11</c:v>
                </c:pt>
                <c:pt idx="401" formatCode="0.00">
                  <c:v>11</c:v>
                </c:pt>
                <c:pt idx="402" formatCode="0.00">
                  <c:v>11</c:v>
                </c:pt>
                <c:pt idx="403" formatCode="0.00">
                  <c:v>11</c:v>
                </c:pt>
                <c:pt idx="404" formatCode="0.00">
                  <c:v>11</c:v>
                </c:pt>
                <c:pt idx="405" formatCode="0.00">
                  <c:v>11</c:v>
                </c:pt>
                <c:pt idx="406" formatCode="0.00">
                  <c:v>11</c:v>
                </c:pt>
                <c:pt idx="407" formatCode="0.00">
                  <c:v>11</c:v>
                </c:pt>
                <c:pt idx="408" formatCode="0.00">
                  <c:v>11</c:v>
                </c:pt>
                <c:pt idx="409" formatCode="0.00">
                  <c:v>11</c:v>
                </c:pt>
                <c:pt idx="410" formatCode="0.00">
                  <c:v>11</c:v>
                </c:pt>
                <c:pt idx="411" formatCode="0.00">
                  <c:v>11</c:v>
                </c:pt>
                <c:pt idx="412" formatCode="0.00">
                  <c:v>11</c:v>
                </c:pt>
                <c:pt idx="413" formatCode="0.00">
                  <c:v>11</c:v>
                </c:pt>
                <c:pt idx="414" formatCode="0.00">
                  <c:v>11</c:v>
                </c:pt>
                <c:pt idx="415" formatCode="0.00">
                  <c:v>11</c:v>
                </c:pt>
                <c:pt idx="416" formatCode="0.00">
                  <c:v>11</c:v>
                </c:pt>
                <c:pt idx="417" formatCode="0.00">
                  <c:v>11</c:v>
                </c:pt>
                <c:pt idx="418" formatCode="0.00">
                  <c:v>11</c:v>
                </c:pt>
                <c:pt idx="419" formatCode="0.00">
                  <c:v>11</c:v>
                </c:pt>
                <c:pt idx="420" formatCode="0.00">
                  <c:v>11</c:v>
                </c:pt>
                <c:pt idx="421" formatCode="0.00">
                  <c:v>11</c:v>
                </c:pt>
                <c:pt idx="422" formatCode="0.00">
                  <c:v>11</c:v>
                </c:pt>
                <c:pt idx="423" formatCode="0.00">
                  <c:v>11</c:v>
                </c:pt>
                <c:pt idx="424" formatCode="0.00">
                  <c:v>11</c:v>
                </c:pt>
                <c:pt idx="425" formatCode="0.00">
                  <c:v>10.88</c:v>
                </c:pt>
                <c:pt idx="426" formatCode="0.00">
                  <c:v>10.9</c:v>
                </c:pt>
                <c:pt idx="427" formatCode="0.00">
                  <c:v>10.95</c:v>
                </c:pt>
                <c:pt idx="428" formatCode="0.00">
                  <c:v>10.96</c:v>
                </c:pt>
                <c:pt idx="429" formatCode="0.00">
                  <c:v>10.99</c:v>
                </c:pt>
                <c:pt idx="430" formatCode="0.00">
                  <c:v>10.95</c:v>
                </c:pt>
                <c:pt idx="431" formatCode="0.00">
                  <c:v>10.95</c:v>
                </c:pt>
                <c:pt idx="432" formatCode="0.00">
                  <c:v>10.95</c:v>
                </c:pt>
                <c:pt idx="433" formatCode="0.00">
                  <c:v>10.92</c:v>
                </c:pt>
                <c:pt idx="434" formatCode="0.00">
                  <c:v>10.9</c:v>
                </c:pt>
                <c:pt idx="435" formatCode="0.00">
                  <c:v>10.93</c:v>
                </c:pt>
                <c:pt idx="436" formatCode="0.00">
                  <c:v>10.92</c:v>
                </c:pt>
                <c:pt idx="437" formatCode="0.00">
                  <c:v>10.9</c:v>
                </c:pt>
                <c:pt idx="438" formatCode="0.00">
                  <c:v>10.91</c:v>
                </c:pt>
                <c:pt idx="439" formatCode="0.00">
                  <c:v>10.91</c:v>
                </c:pt>
                <c:pt idx="440" formatCode="0.00">
                  <c:v>10.9</c:v>
                </c:pt>
                <c:pt idx="441" formatCode="0.00">
                  <c:v>10.9</c:v>
                </c:pt>
                <c:pt idx="442" formatCode="0.00">
                  <c:v>10.9</c:v>
                </c:pt>
                <c:pt idx="443" formatCode="0.00">
                  <c:v>10.9</c:v>
                </c:pt>
                <c:pt idx="444" formatCode="0.00">
                  <c:v>10.9</c:v>
                </c:pt>
                <c:pt idx="445" formatCode="0.00">
                  <c:v>10.9</c:v>
                </c:pt>
                <c:pt idx="446" formatCode="0.00">
                  <c:v>10.88</c:v>
                </c:pt>
                <c:pt idx="447" formatCode="0.00">
                  <c:v>10.85</c:v>
                </c:pt>
                <c:pt idx="448" formatCode="0.00">
                  <c:v>10.79</c:v>
                </c:pt>
                <c:pt idx="449" formatCode="0.00">
                  <c:v>10.78</c:v>
                </c:pt>
                <c:pt idx="450" formatCode="0.00">
                  <c:v>10.76</c:v>
                </c:pt>
                <c:pt idx="451" formatCode="0.00">
                  <c:v>10.78</c:v>
                </c:pt>
                <c:pt idx="452" formatCode="0.00">
                  <c:v>10.79</c:v>
                </c:pt>
                <c:pt idx="453" formatCode="0.00">
                  <c:v>10.78</c:v>
                </c:pt>
                <c:pt idx="454" formatCode="0.00">
                  <c:v>10.78</c:v>
                </c:pt>
                <c:pt idx="455" formatCode="0.00">
                  <c:v>10.76</c:v>
                </c:pt>
                <c:pt idx="456" formatCode="0.00">
                  <c:v>10.69</c:v>
                </c:pt>
                <c:pt idx="457" formatCode="0.00">
                  <c:v>10.68</c:v>
                </c:pt>
                <c:pt idx="458" formatCode="0.00">
                  <c:v>10.69</c:v>
                </c:pt>
                <c:pt idx="459" formatCode="0.00">
                  <c:v>10.7</c:v>
                </c:pt>
                <c:pt idx="460" formatCode="0.00">
                  <c:v>10.71</c:v>
                </c:pt>
                <c:pt idx="461" formatCode="0.00">
                  <c:v>10.7</c:v>
                </c:pt>
                <c:pt idx="462" formatCode="0.00">
                  <c:v>10.7</c:v>
                </c:pt>
                <c:pt idx="463" formatCode="0.00">
                  <c:v>10.68</c:v>
                </c:pt>
                <c:pt idx="464" formatCode="0.00">
                  <c:v>10.65</c:v>
                </c:pt>
                <c:pt idx="465" formatCode="0.00">
                  <c:v>10.65</c:v>
                </c:pt>
                <c:pt idx="466" formatCode="0.00">
                  <c:v>10.65</c:v>
                </c:pt>
                <c:pt idx="467" formatCode="0.00">
                  <c:v>10.24</c:v>
                </c:pt>
                <c:pt idx="468" formatCode="0.00">
                  <c:v>10.210000000000001</c:v>
                </c:pt>
                <c:pt idx="469" formatCode="0.00">
                  <c:v>10.18</c:v>
                </c:pt>
                <c:pt idx="470" formatCode="0.00">
                  <c:v>10.18</c:v>
                </c:pt>
                <c:pt idx="471" formatCode="0.00">
                  <c:v>10.210000000000001</c:v>
                </c:pt>
                <c:pt idx="472" formatCode="0.00">
                  <c:v>10.23</c:v>
                </c:pt>
                <c:pt idx="473" formatCode="0.00">
                  <c:v>10.24</c:v>
                </c:pt>
                <c:pt idx="474" formatCode="0.00">
                  <c:v>10.24</c:v>
                </c:pt>
                <c:pt idx="475" formatCode="0.00">
                  <c:v>10.25</c:v>
                </c:pt>
                <c:pt idx="476" formatCode="0.00">
                  <c:v>10.25</c:v>
                </c:pt>
                <c:pt idx="477" formatCode="0.00">
                  <c:v>10.24</c:v>
                </c:pt>
                <c:pt idx="478" formatCode="0.00">
                  <c:v>10.24</c:v>
                </c:pt>
                <c:pt idx="479" formatCode="0.00">
                  <c:v>10.210000000000001</c:v>
                </c:pt>
                <c:pt idx="480" formatCode="0.00">
                  <c:v>10.199999999999999</c:v>
                </c:pt>
                <c:pt idx="481" formatCode="0.00">
                  <c:v>10.199999999999999</c:v>
                </c:pt>
                <c:pt idx="482" formatCode="0.00">
                  <c:v>10.199999999999999</c:v>
                </c:pt>
                <c:pt idx="483" formatCode="0.00">
                  <c:v>10.19</c:v>
                </c:pt>
                <c:pt idx="484" formatCode="0.00">
                  <c:v>10.19</c:v>
                </c:pt>
                <c:pt idx="485" formatCode="0.00">
                  <c:v>10.119999999999999</c:v>
                </c:pt>
                <c:pt idx="486" formatCode="0.00">
                  <c:v>10.1</c:v>
                </c:pt>
                <c:pt idx="487" formatCode="0.00">
                  <c:v>10.02</c:v>
                </c:pt>
                <c:pt idx="488" formatCode="0.00">
                  <c:v>9.73</c:v>
                </c:pt>
                <c:pt idx="489" formatCode="0.00">
                  <c:v>9.75</c:v>
                </c:pt>
                <c:pt idx="490" formatCode="0.00">
                  <c:v>9.75</c:v>
                </c:pt>
                <c:pt idx="491" formatCode="0.00">
                  <c:v>9.75</c:v>
                </c:pt>
                <c:pt idx="492" formatCode="0.00">
                  <c:v>9.75</c:v>
                </c:pt>
                <c:pt idx="493" formatCode="0.00">
                  <c:v>9.74</c:v>
                </c:pt>
                <c:pt idx="494" formatCode="0.00">
                  <c:v>9.73</c:v>
                </c:pt>
                <c:pt idx="495" formatCode="0.00">
                  <c:v>9.7100000000000009</c:v>
                </c:pt>
                <c:pt idx="496" formatCode="0.00">
                  <c:v>9.66</c:v>
                </c:pt>
                <c:pt idx="497" formatCode="0.00">
                  <c:v>9.65</c:v>
                </c:pt>
                <c:pt idx="498" formatCode="0.00">
                  <c:v>9.65</c:v>
                </c:pt>
                <c:pt idx="499" formatCode="0.00">
                  <c:v>9.65</c:v>
                </c:pt>
                <c:pt idx="500" formatCode="0.00">
                  <c:v>9.65</c:v>
                </c:pt>
                <c:pt idx="501" formatCode="0.00">
                  <c:v>8.4600000000000009</c:v>
                </c:pt>
                <c:pt idx="502" formatCode="0.00">
                  <c:v>8.4600000000000009</c:v>
                </c:pt>
                <c:pt idx="503" formatCode="0.00">
                  <c:v>8.4499999999999993</c:v>
                </c:pt>
                <c:pt idx="504" formatCode="0.00">
                  <c:v>8.51</c:v>
                </c:pt>
                <c:pt idx="505" formatCode="0.00">
                  <c:v>8.5299999999999994</c:v>
                </c:pt>
                <c:pt idx="506" formatCode="0.00">
                  <c:v>8.5500000000000007</c:v>
                </c:pt>
                <c:pt idx="507" formatCode="0.00">
                  <c:v>8.5500000000000007</c:v>
                </c:pt>
                <c:pt idx="508" formatCode="0.00">
                  <c:v>8.5500000000000007</c:v>
                </c:pt>
                <c:pt idx="509" formatCode="0.00">
                  <c:v>8.6300000000000008</c:v>
                </c:pt>
                <c:pt idx="510" formatCode="0.00">
                  <c:v>8.66</c:v>
                </c:pt>
                <c:pt idx="511" formatCode="0.00">
                  <c:v>8.76</c:v>
                </c:pt>
                <c:pt idx="512" formatCode="0.00">
                  <c:v>8.8000000000000007</c:v>
                </c:pt>
                <c:pt idx="513" formatCode="0.00">
                  <c:v>8.8800000000000008</c:v>
                </c:pt>
                <c:pt idx="514" formatCode="0.00">
                  <c:v>9.1199999999999992</c:v>
                </c:pt>
                <c:pt idx="515" formatCode="0.00">
                  <c:v>9.1</c:v>
                </c:pt>
                <c:pt idx="516" formatCode="0.00">
                  <c:v>9.14</c:v>
                </c:pt>
                <c:pt idx="517" formatCode="0.00">
                  <c:v>9.15</c:v>
                </c:pt>
                <c:pt idx="518" formatCode="0.00">
                  <c:v>9.15</c:v>
                </c:pt>
                <c:pt idx="519" formatCode="0.00">
                  <c:v>9.2100000000000009</c:v>
                </c:pt>
                <c:pt idx="520" formatCode="0.00">
                  <c:v>9.24</c:v>
                </c:pt>
                <c:pt idx="521" formatCode="0.00">
                  <c:v>9.2200000000000006</c:v>
                </c:pt>
                <c:pt idx="522" formatCode="0.00">
                  <c:v>9.2100000000000009</c:v>
                </c:pt>
                <c:pt idx="523" formatCode="0.00">
                  <c:v>9.2100000000000009</c:v>
                </c:pt>
                <c:pt idx="524" formatCode="0.00">
                  <c:v>9.2100000000000009</c:v>
                </c:pt>
                <c:pt idx="525" formatCode="0.00">
                  <c:v>9.1999999999999993</c:v>
                </c:pt>
                <c:pt idx="526" formatCode="0.00">
                  <c:v>9.2100000000000009</c:v>
                </c:pt>
                <c:pt idx="527" formatCode="0.00">
                  <c:v>9.24</c:v>
                </c:pt>
                <c:pt idx="528" formatCode="0.00">
                  <c:v>9.23</c:v>
                </c:pt>
                <c:pt idx="529" formatCode="0.00">
                  <c:v>9.1999999999999993</c:v>
                </c:pt>
                <c:pt idx="530" formatCode="0.00">
                  <c:v>9.1999999999999993</c:v>
                </c:pt>
                <c:pt idx="531" formatCode="0.00">
                  <c:v>9.1999999999999993</c:v>
                </c:pt>
                <c:pt idx="532" formatCode="0.00">
                  <c:v>9.1999999999999993</c:v>
                </c:pt>
                <c:pt idx="533" formatCode="0.00">
                  <c:v>9.1999999999999993</c:v>
                </c:pt>
                <c:pt idx="534" formatCode="0.00">
                  <c:v>9.1999999999999993</c:v>
                </c:pt>
                <c:pt idx="535" formatCode="0.00">
                  <c:v>9.1999999999999993</c:v>
                </c:pt>
                <c:pt idx="536" formatCode="0.00">
                  <c:v>9.2100000000000009</c:v>
                </c:pt>
                <c:pt idx="537" formatCode="0.00">
                  <c:v>9.23</c:v>
                </c:pt>
                <c:pt idx="538" formatCode="0.00">
                  <c:v>9.26</c:v>
                </c:pt>
                <c:pt idx="539" formatCode="0.00">
                  <c:v>9.26</c:v>
                </c:pt>
                <c:pt idx="540" formatCode="0.00">
                  <c:v>9.27</c:v>
                </c:pt>
                <c:pt idx="541" formatCode="0.00">
                  <c:v>9.26</c:v>
                </c:pt>
                <c:pt idx="542" formatCode="0.00">
                  <c:v>9.25</c:v>
                </c:pt>
                <c:pt idx="543" formatCode="0.00">
                  <c:v>9.2200000000000006</c:v>
                </c:pt>
                <c:pt idx="544" formatCode="0.00">
                  <c:v>9.25</c:v>
                </c:pt>
                <c:pt idx="545" formatCode="0.00">
                  <c:v>9.27</c:v>
                </c:pt>
                <c:pt idx="546" formatCode="0.00">
                  <c:v>9.3800000000000008</c:v>
                </c:pt>
                <c:pt idx="547" formatCode="0.00">
                  <c:v>9.58</c:v>
                </c:pt>
                <c:pt idx="548" formatCode="0.00">
                  <c:v>9.6999999999999993</c:v>
                </c:pt>
                <c:pt idx="549" formatCode="0.00">
                  <c:v>9.68</c:v>
                </c:pt>
                <c:pt idx="550" formatCode="0.00">
                  <c:v>9.66</c:v>
                </c:pt>
                <c:pt idx="551" formatCode="0.00">
                  <c:v>9.65</c:v>
                </c:pt>
                <c:pt idx="552" formatCode="0.00">
                  <c:v>9.65</c:v>
                </c:pt>
                <c:pt idx="553" formatCode="0.00">
                  <c:v>9.66</c:v>
                </c:pt>
                <c:pt idx="554" formatCode="0.00">
                  <c:v>9.65</c:v>
                </c:pt>
                <c:pt idx="555" formatCode="0.00">
                  <c:v>9.65</c:v>
                </c:pt>
                <c:pt idx="556" formatCode="0.00">
                  <c:v>9.65</c:v>
                </c:pt>
                <c:pt idx="557" formatCode="0.00">
                  <c:v>9.65</c:v>
                </c:pt>
                <c:pt idx="558" formatCode="0.00">
                  <c:v>9.65</c:v>
                </c:pt>
                <c:pt idx="559" formatCode="0.00">
                  <c:v>9.65</c:v>
                </c:pt>
                <c:pt idx="560" formatCode="0.00">
                  <c:v>9.65</c:v>
                </c:pt>
                <c:pt idx="561" formatCode="0.00">
                  <c:v>9.65</c:v>
                </c:pt>
                <c:pt idx="562" formatCode="0.00">
                  <c:v>9.65</c:v>
                </c:pt>
                <c:pt idx="563" formatCode="0.00">
                  <c:v>9.65</c:v>
                </c:pt>
                <c:pt idx="564" formatCode="0.00">
                  <c:v>9.65</c:v>
                </c:pt>
                <c:pt idx="565" formatCode="0.00">
                  <c:v>9.65</c:v>
                </c:pt>
                <c:pt idx="566" formatCode="0.00">
                  <c:v>9.65</c:v>
                </c:pt>
                <c:pt idx="567" formatCode="0.00">
                  <c:v>9.65</c:v>
                </c:pt>
                <c:pt idx="568" formatCode="0.00">
                  <c:v>9.65</c:v>
                </c:pt>
                <c:pt idx="569" formatCode="0.00">
                  <c:v>9.65</c:v>
                </c:pt>
                <c:pt idx="570" formatCode="0.00">
                  <c:v>9.65</c:v>
                </c:pt>
                <c:pt idx="571" formatCode="0.00">
                  <c:v>9.65</c:v>
                </c:pt>
                <c:pt idx="572" formatCode="0.00">
                  <c:v>9.65</c:v>
                </c:pt>
                <c:pt idx="573" formatCode="0.00">
                  <c:v>9.65</c:v>
                </c:pt>
                <c:pt idx="574" formatCode="0.00">
                  <c:v>9.65</c:v>
                </c:pt>
                <c:pt idx="575" formatCode="0.00">
                  <c:v>9.65</c:v>
                </c:pt>
                <c:pt idx="576" formatCode="0.00">
                  <c:v>9.68</c:v>
                </c:pt>
                <c:pt idx="577" formatCode="0.00">
                  <c:v>9.6999999999999993</c:v>
                </c:pt>
                <c:pt idx="578" formatCode="0.00">
                  <c:v>9.81</c:v>
                </c:pt>
                <c:pt idx="579" formatCode="0.00">
                  <c:v>9.93</c:v>
                </c:pt>
                <c:pt idx="580" formatCode="0.00">
                  <c:v>10.050000000000001</c:v>
                </c:pt>
                <c:pt idx="581" formatCode="0.00">
                  <c:v>9.99</c:v>
                </c:pt>
                <c:pt idx="582" formatCode="0.00">
                  <c:v>9.8800000000000008</c:v>
                </c:pt>
                <c:pt idx="583" formatCode="0.00">
                  <c:v>9.81</c:v>
                </c:pt>
                <c:pt idx="584" formatCode="0.00">
                  <c:v>9.7899999999999991</c:v>
                </c:pt>
                <c:pt idx="585" formatCode="0.00">
                  <c:v>9.7899999999999991</c:v>
                </c:pt>
                <c:pt idx="586" formatCode="0.00">
                  <c:v>9.76</c:v>
                </c:pt>
                <c:pt idx="587" formatCode="0.00">
                  <c:v>9.77</c:v>
                </c:pt>
                <c:pt idx="588" formatCode="0.00">
                  <c:v>9.76</c:v>
                </c:pt>
                <c:pt idx="589" formatCode="0.00">
                  <c:v>9.74</c:v>
                </c:pt>
                <c:pt idx="590" formatCode="0.00">
                  <c:v>9.74</c:v>
                </c:pt>
                <c:pt idx="591" formatCode="0.00">
                  <c:v>9.7200000000000006</c:v>
                </c:pt>
                <c:pt idx="592" formatCode="0.00">
                  <c:v>9.7100000000000009</c:v>
                </c:pt>
                <c:pt idx="593" formatCode="0.00">
                  <c:v>9.6999999999999993</c:v>
                </c:pt>
                <c:pt idx="594" formatCode="0.00">
                  <c:v>9.69</c:v>
                </c:pt>
                <c:pt idx="595" formatCode="0.00">
                  <c:v>9.69</c:v>
                </c:pt>
                <c:pt idx="596" formatCode="0.00">
                  <c:v>9.69</c:v>
                </c:pt>
                <c:pt idx="597" formatCode="0.00">
                  <c:v>9.69</c:v>
                </c:pt>
                <c:pt idx="598" formatCode="0.00">
                  <c:v>9.69</c:v>
                </c:pt>
                <c:pt idx="599" formatCode="0.00">
                  <c:v>9.6999999999999993</c:v>
                </c:pt>
                <c:pt idx="600" formatCode="0.00">
                  <c:v>9.69</c:v>
                </c:pt>
                <c:pt idx="601" formatCode="0.00">
                  <c:v>9.6999999999999993</c:v>
                </c:pt>
                <c:pt idx="602" formatCode="0.00">
                  <c:v>9.6999999999999993</c:v>
                </c:pt>
                <c:pt idx="603" formatCode="0.00">
                  <c:v>9.69</c:v>
                </c:pt>
                <c:pt idx="604" formatCode="0.00">
                  <c:v>9.69</c:v>
                </c:pt>
                <c:pt idx="605" formatCode="0.00">
                  <c:v>9.68</c:v>
                </c:pt>
                <c:pt idx="606" formatCode="0.00">
                  <c:v>9.68</c:v>
                </c:pt>
                <c:pt idx="607" formatCode="0.00">
                  <c:v>9.67</c:v>
                </c:pt>
                <c:pt idx="608" formatCode="0.00">
                  <c:v>9.65</c:v>
                </c:pt>
                <c:pt idx="609" formatCode="0.00">
                  <c:v>9.65</c:v>
                </c:pt>
                <c:pt idx="610" formatCode="0.00">
                  <c:v>9.65</c:v>
                </c:pt>
                <c:pt idx="611" formatCode="0.00">
                  <c:v>9.65</c:v>
                </c:pt>
                <c:pt idx="612" formatCode="0.00">
                  <c:v>9.65</c:v>
                </c:pt>
                <c:pt idx="613" formatCode="0.00">
                  <c:v>9.6999999999999993</c:v>
                </c:pt>
                <c:pt idx="614" formatCode="0.00">
                  <c:v>9.7200000000000006</c:v>
                </c:pt>
                <c:pt idx="615" formatCode="0.00">
                  <c:v>9.6999999999999993</c:v>
                </c:pt>
                <c:pt idx="616" formatCode="0.00">
                  <c:v>9.69</c:v>
                </c:pt>
                <c:pt idx="617" formatCode="0.00">
                  <c:v>9.69</c:v>
                </c:pt>
                <c:pt idx="618" formatCode="0.00">
                  <c:v>9.68</c:v>
                </c:pt>
                <c:pt idx="619" formatCode="0.00">
                  <c:v>9.6999999999999993</c:v>
                </c:pt>
                <c:pt idx="620" formatCode="0.00">
                  <c:v>9.7100000000000009</c:v>
                </c:pt>
                <c:pt idx="621" formatCode="0.00">
                  <c:v>9.69</c:v>
                </c:pt>
                <c:pt idx="622" formatCode="0.00">
                  <c:v>9.6999999999999993</c:v>
                </c:pt>
                <c:pt idx="623" formatCode="0.00">
                  <c:v>9.6999999999999993</c:v>
                </c:pt>
                <c:pt idx="624" formatCode="0.00">
                  <c:v>9.7100000000000009</c:v>
                </c:pt>
                <c:pt idx="625" formatCode="0.00">
                  <c:v>9.6999999999999993</c:v>
                </c:pt>
                <c:pt idx="626" formatCode="0.00">
                  <c:v>9.6999999999999993</c:v>
                </c:pt>
                <c:pt idx="627" formatCode="0.00">
                  <c:v>9.6999999999999993</c:v>
                </c:pt>
                <c:pt idx="628" formatCode="0.00">
                  <c:v>9.6999999999999993</c:v>
                </c:pt>
                <c:pt idx="629" formatCode="0.00">
                  <c:v>9.6999999999999993</c:v>
                </c:pt>
                <c:pt idx="630" formatCode="0.00">
                  <c:v>9.69</c:v>
                </c:pt>
                <c:pt idx="631" formatCode="0.00">
                  <c:v>9.6999999999999993</c:v>
                </c:pt>
                <c:pt idx="632" formatCode="0.00">
                  <c:v>9.61</c:v>
                </c:pt>
                <c:pt idx="633" formatCode="0.00">
                  <c:v>9.59</c:v>
                </c:pt>
                <c:pt idx="634" formatCode="0.00">
                  <c:v>9.58</c:v>
                </c:pt>
                <c:pt idx="635" formatCode="0.00">
                  <c:v>9.58</c:v>
                </c:pt>
                <c:pt idx="636" formatCode="0.00">
                  <c:v>9.59</c:v>
                </c:pt>
                <c:pt idx="637" formatCode="0.00">
                  <c:v>9.59</c:v>
                </c:pt>
                <c:pt idx="638" formatCode="0.00">
                  <c:v>9.59</c:v>
                </c:pt>
                <c:pt idx="639" formatCode="0.00">
                  <c:v>9.49</c:v>
                </c:pt>
                <c:pt idx="640" formatCode="0.00">
                  <c:v>8.58</c:v>
                </c:pt>
                <c:pt idx="641" formatCode="0.00">
                  <c:v>8.43</c:v>
                </c:pt>
                <c:pt idx="642" formatCode="0.00">
                  <c:v>8.4600000000000009</c:v>
                </c:pt>
                <c:pt idx="643" formatCode="0.00">
                  <c:v>8.68</c:v>
                </c:pt>
                <c:pt idx="644" formatCode="0.00">
                  <c:v>8.3699999999999992</c:v>
                </c:pt>
                <c:pt idx="645" formatCode="0.00">
                  <c:v>8.31</c:v>
                </c:pt>
                <c:pt idx="646" formatCode="0.00">
                  <c:v>8.31</c:v>
                </c:pt>
                <c:pt idx="647" formatCode="0.00">
                  <c:v>8.36</c:v>
                </c:pt>
                <c:pt idx="648" formatCode="0.00">
                  <c:v>8.4600000000000009</c:v>
                </c:pt>
                <c:pt idx="649" formatCode="0.00">
                  <c:v>8.57</c:v>
                </c:pt>
                <c:pt idx="650" formatCode="0.00">
                  <c:v>8.66</c:v>
                </c:pt>
                <c:pt idx="651" formatCode="0.00">
                  <c:v>8.69</c:v>
                </c:pt>
                <c:pt idx="652" formatCode="0.00">
                  <c:v>8.66</c:v>
                </c:pt>
                <c:pt idx="653" formatCode="0.00">
                  <c:v>8.6199999999999992</c:v>
                </c:pt>
                <c:pt idx="654" formatCode="0.00">
                  <c:v>8.59</c:v>
                </c:pt>
                <c:pt idx="655" formatCode="0.00">
                  <c:v>8.6</c:v>
                </c:pt>
                <c:pt idx="656" formatCode="0.00">
                  <c:v>8.68</c:v>
                </c:pt>
                <c:pt idx="657" formatCode="0.00">
                  <c:v>8.69</c:v>
                </c:pt>
                <c:pt idx="658" formatCode="0.00">
                  <c:v>8.7100000000000009</c:v>
                </c:pt>
                <c:pt idx="659" formatCode="0.00">
                  <c:v>8.65</c:v>
                </c:pt>
                <c:pt idx="660" formatCode="0.00">
                  <c:v>8.43</c:v>
                </c:pt>
                <c:pt idx="661" formatCode="0.00">
                  <c:v>8.4</c:v>
                </c:pt>
                <c:pt idx="662" formatCode="0.00">
                  <c:v>8.3699999999999992</c:v>
                </c:pt>
                <c:pt idx="663" formatCode="0.00">
                  <c:v>8.3699999999999992</c:v>
                </c:pt>
                <c:pt idx="664" formatCode="0.00">
                  <c:v>8.3800000000000008</c:v>
                </c:pt>
                <c:pt idx="665" formatCode="0.00">
                  <c:v>8.3800000000000008</c:v>
                </c:pt>
                <c:pt idx="666" formatCode="0.00">
                  <c:v>8.3800000000000008</c:v>
                </c:pt>
                <c:pt idx="667" formatCode="0.00">
                  <c:v>8.3800000000000008</c:v>
                </c:pt>
                <c:pt idx="668" formatCode="0.00">
                  <c:v>8.3800000000000008</c:v>
                </c:pt>
                <c:pt idx="669" formatCode="0.00">
                  <c:v>8.3800000000000008</c:v>
                </c:pt>
                <c:pt idx="670" formatCode="0.00">
                  <c:v>8.3699999999999992</c:v>
                </c:pt>
                <c:pt idx="671" formatCode="0.00">
                  <c:v>8.3800000000000008</c:v>
                </c:pt>
                <c:pt idx="672" formatCode="0.00">
                  <c:v>8.36</c:v>
                </c:pt>
                <c:pt idx="673" formatCode="0.00">
                  <c:v>8.3699999999999992</c:v>
                </c:pt>
                <c:pt idx="674" formatCode="0.00">
                  <c:v>8.33</c:v>
                </c:pt>
                <c:pt idx="675" formatCode="0.00">
                  <c:v>8.2799999999999994</c:v>
                </c:pt>
                <c:pt idx="676" formatCode="0.00">
                  <c:v>8.19</c:v>
                </c:pt>
                <c:pt idx="677" formatCode="0.00">
                  <c:v>8.14</c:v>
                </c:pt>
                <c:pt idx="678" formatCode="0.00">
                  <c:v>8.09</c:v>
                </c:pt>
                <c:pt idx="679" formatCode="0.00">
                  <c:v>6.49</c:v>
                </c:pt>
                <c:pt idx="680" formatCode="0.00">
                  <c:v>5.39</c:v>
                </c:pt>
                <c:pt idx="681" formatCode="0.00">
                  <c:v>6.09</c:v>
                </c:pt>
                <c:pt idx="682" formatCode="0.00">
                  <c:v>6.01</c:v>
                </c:pt>
                <c:pt idx="683" formatCode="0.00">
                  <c:v>5.74</c:v>
                </c:pt>
                <c:pt idx="684" formatCode="0.00">
                  <c:v>6.24</c:v>
                </c:pt>
                <c:pt idx="685" formatCode="0.00">
                  <c:v>6.18</c:v>
                </c:pt>
                <c:pt idx="686" formatCode="0.00">
                  <c:v>6.34</c:v>
                </c:pt>
                <c:pt idx="687" formatCode="0.00">
                  <c:v>6.17</c:v>
                </c:pt>
                <c:pt idx="688" formatCode="0.00">
                  <c:v>6.12</c:v>
                </c:pt>
                <c:pt idx="689" formatCode="0.00">
                  <c:v>6.06</c:v>
                </c:pt>
                <c:pt idx="690" formatCode="0.00">
                  <c:v>6.05</c:v>
                </c:pt>
                <c:pt idx="691" formatCode="0.00">
                  <c:v>6.02</c:v>
                </c:pt>
                <c:pt idx="692" formatCode="0.00">
                  <c:v>5.97</c:v>
                </c:pt>
                <c:pt idx="693" formatCode="0.00">
                  <c:v>5.96</c:v>
                </c:pt>
                <c:pt idx="694" formatCode="0.00">
                  <c:v>5.96</c:v>
                </c:pt>
                <c:pt idx="695" formatCode="0.00">
                  <c:v>5.97</c:v>
                </c:pt>
                <c:pt idx="696" formatCode="0.00">
                  <c:v>5.92</c:v>
                </c:pt>
                <c:pt idx="697" formatCode="0.00">
                  <c:v>5.88</c:v>
                </c:pt>
                <c:pt idx="698" formatCode="0.00">
                  <c:v>5.78</c:v>
                </c:pt>
                <c:pt idx="699" formatCode="0.00">
                  <c:v>5.47</c:v>
                </c:pt>
                <c:pt idx="700" formatCode="0.00">
                  <c:v>5.2</c:v>
                </c:pt>
                <c:pt idx="701" formatCode="0.00">
                  <c:v>5.18</c:v>
                </c:pt>
                <c:pt idx="702" formatCode="0.00">
                  <c:v>5.05</c:v>
                </c:pt>
                <c:pt idx="703" formatCode="0.00">
                  <c:v>5.15</c:v>
                </c:pt>
                <c:pt idx="704" formatCode="0.00">
                  <c:v>5.3</c:v>
                </c:pt>
                <c:pt idx="705" formatCode="0.00">
                  <c:v>5.49</c:v>
                </c:pt>
                <c:pt idx="706" formatCode="0.00">
                  <c:v>5.58</c:v>
                </c:pt>
                <c:pt idx="707" formatCode="0.00">
                  <c:v>6.5</c:v>
                </c:pt>
                <c:pt idx="708" formatCode="0.00">
                  <c:v>6.46</c:v>
                </c:pt>
                <c:pt idx="709" formatCode="0.00">
                  <c:v>6.4</c:v>
                </c:pt>
                <c:pt idx="710" formatCode="0.00">
                  <c:v>6.35</c:v>
                </c:pt>
                <c:pt idx="711" formatCode="0.00">
                  <c:v>6.38</c:v>
                </c:pt>
                <c:pt idx="712" formatCode="0.00">
                  <c:v>6.39</c:v>
                </c:pt>
                <c:pt idx="713" formatCode="0.00">
                  <c:v>6.4</c:v>
                </c:pt>
                <c:pt idx="714" formatCode="0.00">
                  <c:v>6.42</c:v>
                </c:pt>
                <c:pt idx="715" formatCode="0.00">
                  <c:v>6.45</c:v>
                </c:pt>
                <c:pt idx="716" formatCode="0.00">
                  <c:v>6.47</c:v>
                </c:pt>
                <c:pt idx="717" formatCode="0.00">
                  <c:v>6.48</c:v>
                </c:pt>
                <c:pt idx="718" formatCode="0.00">
                  <c:v>6.46</c:v>
                </c:pt>
                <c:pt idx="719" formatCode="0.00">
                  <c:v>6.45</c:v>
                </c:pt>
                <c:pt idx="720" formatCode="0.00">
                  <c:v>6.45</c:v>
                </c:pt>
                <c:pt idx="721" formatCode="0.00">
                  <c:v>6.45</c:v>
                </c:pt>
                <c:pt idx="722" formatCode="0.00">
                  <c:v>6.47</c:v>
                </c:pt>
                <c:pt idx="723" formatCode="0.00">
                  <c:v>6.49</c:v>
                </c:pt>
                <c:pt idx="724" formatCode="0.00">
                  <c:v>6.52</c:v>
                </c:pt>
                <c:pt idx="725" formatCode="0.00">
                  <c:v>6.52</c:v>
                </c:pt>
                <c:pt idx="726" formatCode="0.00">
                  <c:v>6.55</c:v>
                </c:pt>
                <c:pt idx="727" formatCode="0.00">
                  <c:v>6.55</c:v>
                </c:pt>
                <c:pt idx="728" formatCode="0.00">
                  <c:v>6.55</c:v>
                </c:pt>
                <c:pt idx="729" formatCode="0.00">
                  <c:v>6.54</c:v>
                </c:pt>
                <c:pt idx="730" formatCode="0.00">
                  <c:v>6.54</c:v>
                </c:pt>
                <c:pt idx="731" formatCode="0.00">
                  <c:v>6.55</c:v>
                </c:pt>
                <c:pt idx="732" formatCode="0.00">
                  <c:v>6.55</c:v>
                </c:pt>
                <c:pt idx="733" formatCode="0.00">
                  <c:v>6.55</c:v>
                </c:pt>
                <c:pt idx="734" formatCode="0.00">
                  <c:v>6.55</c:v>
                </c:pt>
                <c:pt idx="735" formatCode="0.00">
                  <c:v>6.55</c:v>
                </c:pt>
                <c:pt idx="736" formatCode="0.00">
                  <c:v>6.55</c:v>
                </c:pt>
                <c:pt idx="737" formatCode="0.00">
                  <c:v>6.53</c:v>
                </c:pt>
                <c:pt idx="738" formatCode="0.00">
                  <c:v>6.54</c:v>
                </c:pt>
                <c:pt idx="739" formatCode="0.00">
                  <c:v>6.52</c:v>
                </c:pt>
                <c:pt idx="740" formatCode="0.00">
                  <c:v>6.53</c:v>
                </c:pt>
                <c:pt idx="741" formatCode="0.00">
                  <c:v>6.51</c:v>
                </c:pt>
                <c:pt idx="742" formatCode="0.00">
                  <c:v>6.51</c:v>
                </c:pt>
                <c:pt idx="743" formatCode="0.00">
                  <c:v>6.51</c:v>
                </c:pt>
                <c:pt idx="744" formatCode="0.00">
                  <c:v>6.51</c:v>
                </c:pt>
                <c:pt idx="745" formatCode="0.00">
                  <c:v>6.5</c:v>
                </c:pt>
                <c:pt idx="746" formatCode="0.00">
                  <c:v>6.5</c:v>
                </c:pt>
                <c:pt idx="747" formatCode="0.00">
                  <c:v>6.5</c:v>
                </c:pt>
                <c:pt idx="748" formatCode="0.00">
                  <c:v>6.5</c:v>
                </c:pt>
                <c:pt idx="749" formatCode="0.00">
                  <c:v>6.5</c:v>
                </c:pt>
                <c:pt idx="750" formatCode="0.00">
                  <c:v>6.5</c:v>
                </c:pt>
                <c:pt idx="751" formatCode="0.00">
                  <c:v>6.5</c:v>
                </c:pt>
                <c:pt idx="752" formatCode="0.00">
                  <c:v>6.5</c:v>
                </c:pt>
                <c:pt idx="753" formatCode="0.00">
                  <c:v>6.5</c:v>
                </c:pt>
                <c:pt idx="754" formatCode="0.00">
                  <c:v>6.5</c:v>
                </c:pt>
                <c:pt idx="755" formatCode="0.00">
                  <c:v>6.5</c:v>
                </c:pt>
                <c:pt idx="756" formatCode="0.00">
                  <c:v>6.5</c:v>
                </c:pt>
                <c:pt idx="757" formatCode="0.00">
                  <c:v>6.5</c:v>
                </c:pt>
                <c:pt idx="758" formatCode="0.00">
                  <c:v>6.5</c:v>
                </c:pt>
                <c:pt idx="759" formatCode="0.00">
                  <c:v>6.5</c:v>
                </c:pt>
                <c:pt idx="760" formatCode="0.00">
                  <c:v>6.48</c:v>
                </c:pt>
                <c:pt idx="761" formatCode="0.00">
                  <c:v>6.46</c:v>
                </c:pt>
                <c:pt idx="762" formatCode="0.00">
                  <c:v>6.47</c:v>
                </c:pt>
                <c:pt idx="763" formatCode="0.00">
                  <c:v>6.46</c:v>
                </c:pt>
                <c:pt idx="764" formatCode="0.00">
                  <c:v>6.46</c:v>
                </c:pt>
                <c:pt idx="765" formatCode="0.00">
                  <c:v>6.45</c:v>
                </c:pt>
                <c:pt idx="766" formatCode="0.00">
                  <c:v>6.45</c:v>
                </c:pt>
                <c:pt idx="767" formatCode="0.00">
                  <c:v>6.47</c:v>
                </c:pt>
                <c:pt idx="768" formatCode="0.00">
                  <c:v>6.46</c:v>
                </c:pt>
                <c:pt idx="769" formatCode="0.00">
                  <c:v>6.46</c:v>
                </c:pt>
                <c:pt idx="770" formatCode="0.00">
                  <c:v>6.48</c:v>
                </c:pt>
                <c:pt idx="771" formatCode="0.00">
                  <c:v>6.49</c:v>
                </c:pt>
                <c:pt idx="772" formatCode="0.00">
                  <c:v>6.5</c:v>
                </c:pt>
                <c:pt idx="773" formatCode="0.00">
                  <c:v>6.53</c:v>
                </c:pt>
                <c:pt idx="774" formatCode="0.00">
                  <c:v>6.55</c:v>
                </c:pt>
                <c:pt idx="775" formatCode="0.00">
                  <c:v>6.81</c:v>
                </c:pt>
                <c:pt idx="776" formatCode="0.00">
                  <c:v>6.69</c:v>
                </c:pt>
                <c:pt idx="777" formatCode="0.00">
                  <c:v>7.13</c:v>
                </c:pt>
                <c:pt idx="778" formatCode="0.00">
                  <c:v>6.87</c:v>
                </c:pt>
                <c:pt idx="779" formatCode="0.00">
                  <c:v>6.99</c:v>
                </c:pt>
                <c:pt idx="780" formatCode="0.00">
                  <c:v>7.31</c:v>
                </c:pt>
                <c:pt idx="781" formatCode="0.00">
                  <c:v>7.33</c:v>
                </c:pt>
                <c:pt idx="782" formatCode="0.00">
                  <c:v>7.4</c:v>
                </c:pt>
                <c:pt idx="783" formatCode="0.00">
                  <c:v>7.58</c:v>
                </c:pt>
                <c:pt idx="784" formatCode="0.00">
                  <c:v>7.93</c:v>
                </c:pt>
                <c:pt idx="785" formatCode="0.00">
                  <c:v>8.0399999999999991</c:v>
                </c:pt>
                <c:pt idx="786" formatCode="0.00">
                  <c:v>9.5</c:v>
                </c:pt>
                <c:pt idx="787" formatCode="0.00">
                  <c:v>9.36</c:v>
                </c:pt>
                <c:pt idx="788" formatCode="0.00">
                  <c:v>8.83</c:v>
                </c:pt>
                <c:pt idx="789" formatCode="0.00">
                  <c:v>9.0299999999999994</c:v>
                </c:pt>
                <c:pt idx="790" formatCode="0.00">
                  <c:v>9.0299999999999994</c:v>
                </c:pt>
                <c:pt idx="791" formatCode="0.00">
                  <c:v>9.31</c:v>
                </c:pt>
                <c:pt idx="792" formatCode="0.00">
                  <c:v>9.9</c:v>
                </c:pt>
                <c:pt idx="793" formatCode="0.00">
                  <c:v>10.01</c:v>
                </c:pt>
                <c:pt idx="794" formatCode="0.00">
                  <c:v>9.7899999999999991</c:v>
                </c:pt>
                <c:pt idx="795" formatCode="0.00">
                  <c:v>9.58</c:v>
                </c:pt>
                <c:pt idx="796" formatCode="0.00">
                  <c:v>9.59</c:v>
                </c:pt>
                <c:pt idx="797" formatCode="0.00">
                  <c:v>9.7100000000000009</c:v>
                </c:pt>
                <c:pt idx="798" formatCode="0.00">
                  <c:v>9.6199999999999992</c:v>
                </c:pt>
                <c:pt idx="799" formatCode="0.00">
                  <c:v>9.56</c:v>
                </c:pt>
                <c:pt idx="800" formatCode="0.00">
                  <c:v>9.49</c:v>
                </c:pt>
                <c:pt idx="801" formatCode="0.00">
                  <c:v>9.48</c:v>
                </c:pt>
                <c:pt idx="802" formatCode="0.00">
                  <c:v>9.4499999999999993</c:v>
                </c:pt>
                <c:pt idx="803" formatCode="0.00">
                  <c:v>9.35</c:v>
                </c:pt>
                <c:pt idx="804" formatCode="0.00">
                  <c:v>9.33</c:v>
                </c:pt>
                <c:pt idx="805" formatCode="0.00">
                  <c:v>9.42</c:v>
                </c:pt>
                <c:pt idx="806" formatCode="0.00">
                  <c:v>9.5</c:v>
                </c:pt>
                <c:pt idx="807" formatCode="0.00">
                  <c:v>9.66</c:v>
                </c:pt>
                <c:pt idx="808" formatCode="0.00">
                  <c:v>9.8800000000000008</c:v>
                </c:pt>
                <c:pt idx="809" formatCode="0.00">
                  <c:v>9.85</c:v>
                </c:pt>
                <c:pt idx="810" formatCode="0.00">
                  <c:v>9.8699999999999992</c:v>
                </c:pt>
                <c:pt idx="811" formatCode="0.00">
                  <c:v>9.8800000000000008</c:v>
                </c:pt>
                <c:pt idx="812" formatCode="0.00">
                  <c:v>9.81</c:v>
                </c:pt>
                <c:pt idx="813" formatCode="0.00">
                  <c:v>9.77</c:v>
                </c:pt>
                <c:pt idx="814" formatCode="0.00">
                  <c:v>9.74</c:v>
                </c:pt>
                <c:pt idx="815" formatCode="0.00">
                  <c:v>9.6300000000000008</c:v>
                </c:pt>
                <c:pt idx="816" formatCode="0.00">
                  <c:v>9.65</c:v>
                </c:pt>
                <c:pt idx="817" formatCode="0.00">
                  <c:v>9.6300000000000008</c:v>
                </c:pt>
                <c:pt idx="818" formatCode="0.00">
                  <c:v>9.6300000000000008</c:v>
                </c:pt>
                <c:pt idx="819" formatCode="0.00">
                  <c:v>9.6300000000000008</c:v>
                </c:pt>
                <c:pt idx="820" formatCode="0.00">
                  <c:v>9.6199999999999992</c:v>
                </c:pt>
                <c:pt idx="821" formatCode="0.00">
                  <c:v>9.6</c:v>
                </c:pt>
                <c:pt idx="822" formatCode="0.00">
                  <c:v>9.5299999999999994</c:v>
                </c:pt>
                <c:pt idx="823" formatCode="0.00">
                  <c:v>9.5299999999999994</c:v>
                </c:pt>
                <c:pt idx="824" formatCode="0.00">
                  <c:v>9.5299999999999994</c:v>
                </c:pt>
                <c:pt idx="825" formatCode="0.00">
                  <c:v>9.5299999999999994</c:v>
                </c:pt>
                <c:pt idx="826" formatCode="0.00">
                  <c:v>9.5299999999999994</c:v>
                </c:pt>
                <c:pt idx="827" formatCode="0.00">
                  <c:v>9.5399999999999991</c:v>
                </c:pt>
                <c:pt idx="828" formatCode="0.00">
                  <c:v>9.5299999999999994</c:v>
                </c:pt>
                <c:pt idx="829" formatCode="0.00">
                  <c:v>9.64</c:v>
                </c:pt>
                <c:pt idx="830" formatCode="0.00">
                  <c:v>9.68</c:v>
                </c:pt>
                <c:pt idx="831" formatCode="0.00">
                  <c:v>9.64</c:v>
                </c:pt>
                <c:pt idx="832" formatCode="0.00">
                  <c:v>9.61</c:v>
                </c:pt>
                <c:pt idx="833" formatCode="0.00">
                  <c:v>9.59</c:v>
                </c:pt>
                <c:pt idx="834" formatCode="0.00">
                  <c:v>9.5500000000000007</c:v>
                </c:pt>
                <c:pt idx="835" formatCode="0.00">
                  <c:v>9.5299999999999994</c:v>
                </c:pt>
                <c:pt idx="836" formatCode="0.00">
                  <c:v>9.51</c:v>
                </c:pt>
                <c:pt idx="837" formatCode="0.00">
                  <c:v>9.5</c:v>
                </c:pt>
                <c:pt idx="838" formatCode="0.00">
                  <c:v>9.5</c:v>
                </c:pt>
                <c:pt idx="839" formatCode="0.00">
                  <c:v>9.51</c:v>
                </c:pt>
                <c:pt idx="840" formatCode="0.00">
                  <c:v>9.5</c:v>
                </c:pt>
                <c:pt idx="841" formatCode="0.00">
                  <c:v>9.5</c:v>
                </c:pt>
                <c:pt idx="842" formatCode="0.00">
                  <c:v>9.5</c:v>
                </c:pt>
                <c:pt idx="843" formatCode="0.00">
                  <c:v>9.5</c:v>
                </c:pt>
                <c:pt idx="844" formatCode="0.00">
                  <c:v>9.5</c:v>
                </c:pt>
                <c:pt idx="845" formatCode="0.00">
                  <c:v>9.5</c:v>
                </c:pt>
                <c:pt idx="846" formatCode="0.00">
                  <c:v>9.5</c:v>
                </c:pt>
                <c:pt idx="847" formatCode="0.00">
                  <c:v>9.49</c:v>
                </c:pt>
                <c:pt idx="848" formatCode="0.00">
                  <c:v>9.4700000000000006</c:v>
                </c:pt>
                <c:pt idx="849" formatCode="0.00">
                  <c:v>9.44</c:v>
                </c:pt>
                <c:pt idx="850" formatCode="0.00">
                  <c:v>9.4700000000000006</c:v>
                </c:pt>
                <c:pt idx="851" formatCode="0.00">
                  <c:v>9.5</c:v>
                </c:pt>
                <c:pt idx="852" formatCode="0.00">
                  <c:v>9.52</c:v>
                </c:pt>
                <c:pt idx="853" formatCode="0.00">
                  <c:v>9.51</c:v>
                </c:pt>
                <c:pt idx="854" formatCode="0.00">
                  <c:v>9.41</c:v>
                </c:pt>
                <c:pt idx="855" formatCode="0.00">
                  <c:v>9.3800000000000008</c:v>
                </c:pt>
                <c:pt idx="856" formatCode="0.00">
                  <c:v>9.33</c:v>
                </c:pt>
                <c:pt idx="857" formatCode="0.00">
                  <c:v>9.33</c:v>
                </c:pt>
                <c:pt idx="858" formatCode="0.00">
                  <c:v>9.35</c:v>
                </c:pt>
                <c:pt idx="859" formatCode="0.00">
                  <c:v>9.34</c:v>
                </c:pt>
                <c:pt idx="860" formatCode="0.00">
                  <c:v>9.35</c:v>
                </c:pt>
                <c:pt idx="861" formatCode="0.00">
                  <c:v>9.33</c:v>
                </c:pt>
                <c:pt idx="862" formatCode="0.00">
                  <c:v>9.31</c:v>
                </c:pt>
                <c:pt idx="863" formatCode="0.00">
                  <c:v>9.31</c:v>
                </c:pt>
                <c:pt idx="864" formatCode="0.00">
                  <c:v>9.31</c:v>
                </c:pt>
                <c:pt idx="865" formatCode="0.00">
                  <c:v>9.3000000000000007</c:v>
                </c:pt>
                <c:pt idx="866" formatCode="0.00">
                  <c:v>9.3000000000000007</c:v>
                </c:pt>
                <c:pt idx="867" formatCode="0.00">
                  <c:v>9.3000000000000007</c:v>
                </c:pt>
                <c:pt idx="868" formatCode="0.00">
                  <c:v>9.36</c:v>
                </c:pt>
                <c:pt idx="869" formatCode="0.00">
                  <c:v>9.39</c:v>
                </c:pt>
                <c:pt idx="870" formatCode="0.00">
                  <c:v>9.5399999999999991</c:v>
                </c:pt>
                <c:pt idx="871" formatCode="0.00">
                  <c:v>9.5399999999999991</c:v>
                </c:pt>
                <c:pt idx="872" formatCode="0.00">
                  <c:v>9.52</c:v>
                </c:pt>
                <c:pt idx="873" formatCode="0.00">
                  <c:v>9.49</c:v>
                </c:pt>
                <c:pt idx="874" formatCode="0.00">
                  <c:v>9.4600000000000009</c:v>
                </c:pt>
                <c:pt idx="875" formatCode="0.00">
                  <c:v>9.4499999999999993</c:v>
                </c:pt>
                <c:pt idx="876" formatCode="0.00">
                  <c:v>9.51</c:v>
                </c:pt>
                <c:pt idx="877" formatCode="0.00">
                  <c:v>9.51</c:v>
                </c:pt>
                <c:pt idx="878" formatCode="0.00">
                  <c:v>9.51</c:v>
                </c:pt>
                <c:pt idx="879" formatCode="0.00">
                  <c:v>9.5299999999999994</c:v>
                </c:pt>
                <c:pt idx="880" formatCode="0.00">
                  <c:v>10.210000000000001</c:v>
                </c:pt>
                <c:pt idx="881" formatCode="0.00">
                  <c:v>10.41</c:v>
                </c:pt>
                <c:pt idx="882" formatCode="0.00">
                  <c:v>9.8800000000000008</c:v>
                </c:pt>
                <c:pt idx="883" formatCode="0.00">
                  <c:v>9.83</c:v>
                </c:pt>
                <c:pt idx="884" formatCode="0.00">
                  <c:v>9.7799999999999994</c:v>
                </c:pt>
                <c:pt idx="885" formatCode="0.00">
                  <c:v>9.68</c:v>
                </c:pt>
                <c:pt idx="886" formatCode="0.00">
                  <c:v>9.68</c:v>
                </c:pt>
                <c:pt idx="887" formatCode="0.00">
                  <c:v>9.75</c:v>
                </c:pt>
                <c:pt idx="888" formatCode="0.00">
                  <c:v>9.8699999999999992</c:v>
                </c:pt>
                <c:pt idx="889" formatCode="0.00">
                  <c:v>9.8800000000000008</c:v>
                </c:pt>
                <c:pt idx="890" formatCode="0.00">
                  <c:v>9.86</c:v>
                </c:pt>
                <c:pt idx="891" formatCode="0.00">
                  <c:v>9.76</c:v>
                </c:pt>
                <c:pt idx="892" formatCode="0.00">
                  <c:v>9.6199999999999992</c:v>
                </c:pt>
                <c:pt idx="893" formatCode="0.00">
                  <c:v>9.68</c:v>
                </c:pt>
                <c:pt idx="894" formatCode="0.00">
                  <c:v>9.73</c:v>
                </c:pt>
                <c:pt idx="895" formatCode="0.00">
                  <c:v>9.75</c:v>
                </c:pt>
                <c:pt idx="896" formatCode="0.00">
                  <c:v>9.7200000000000006</c:v>
                </c:pt>
                <c:pt idx="897" formatCode="0.00">
                  <c:v>10.199999999999999</c:v>
                </c:pt>
                <c:pt idx="898" formatCode="0.00">
                  <c:v>10.24</c:v>
                </c:pt>
                <c:pt idx="899" formatCode="0.00">
                  <c:v>10.5</c:v>
                </c:pt>
                <c:pt idx="900" formatCode="0.00">
                  <c:v>12.66</c:v>
                </c:pt>
                <c:pt idx="901" formatCode="0.00">
                  <c:v>12.66</c:v>
                </c:pt>
                <c:pt idx="902" formatCode="0.00">
                  <c:v>14.79</c:v>
                </c:pt>
                <c:pt idx="903" formatCode="0.00">
                  <c:v>15.08</c:v>
                </c:pt>
                <c:pt idx="904" formatCode="0.00">
                  <c:v>13.61</c:v>
                </c:pt>
                <c:pt idx="905" formatCode="0.00">
                  <c:v>13.23</c:v>
                </c:pt>
                <c:pt idx="906" formatCode="0.00">
                  <c:v>13.31</c:v>
                </c:pt>
                <c:pt idx="907" formatCode="0.00">
                  <c:v>13.09</c:v>
                </c:pt>
                <c:pt idx="908" formatCode="0.00">
                  <c:v>12.48</c:v>
                </c:pt>
                <c:pt idx="909" formatCode="0.00">
                  <c:v>12.43</c:v>
                </c:pt>
                <c:pt idx="910" formatCode="0.00">
                  <c:v>12.36</c:v>
                </c:pt>
                <c:pt idx="911" formatCode="0.00">
                  <c:v>12.35</c:v>
                </c:pt>
                <c:pt idx="912" formatCode="0.00">
                  <c:v>12.37</c:v>
                </c:pt>
                <c:pt idx="913" formatCode="0.00">
                  <c:v>12.43</c:v>
                </c:pt>
                <c:pt idx="914" formatCode="0.00">
                  <c:v>12.46</c:v>
                </c:pt>
                <c:pt idx="915" formatCode="0.00">
                  <c:v>12.48</c:v>
                </c:pt>
                <c:pt idx="916" formatCode="0.00">
                  <c:v>12.57</c:v>
                </c:pt>
                <c:pt idx="917" formatCode="0.00">
                  <c:v>12.52</c:v>
                </c:pt>
                <c:pt idx="918" formatCode="0.00">
                  <c:v>12.54</c:v>
                </c:pt>
                <c:pt idx="919" formatCode="0.00">
                  <c:v>12.47</c:v>
                </c:pt>
                <c:pt idx="920" formatCode="0.00">
                  <c:v>12.41</c:v>
                </c:pt>
                <c:pt idx="921" formatCode="0.00">
                  <c:v>12.39</c:v>
                </c:pt>
                <c:pt idx="922" formatCode="0.00">
                  <c:v>12.28</c:v>
                </c:pt>
                <c:pt idx="923" formatCode="0.00">
                  <c:v>12.03</c:v>
                </c:pt>
                <c:pt idx="924" formatCode="0.00">
                  <c:v>12.05</c:v>
                </c:pt>
                <c:pt idx="925" formatCode="0.00">
                  <c:v>12.29</c:v>
                </c:pt>
                <c:pt idx="926" formatCode="0.00">
                  <c:v>13.12</c:v>
                </c:pt>
                <c:pt idx="927" formatCode="0.00">
                  <c:v>13.2</c:v>
                </c:pt>
                <c:pt idx="928" formatCode="0.00">
                  <c:v>13.5</c:v>
                </c:pt>
                <c:pt idx="929" formatCode="0.00">
                  <c:v>12.88</c:v>
                </c:pt>
                <c:pt idx="930" formatCode="0.00">
                  <c:v>12.52</c:v>
                </c:pt>
                <c:pt idx="931" formatCode="0.00">
                  <c:v>12.5</c:v>
                </c:pt>
                <c:pt idx="932" formatCode="0.00">
                  <c:v>12.57</c:v>
                </c:pt>
                <c:pt idx="933" formatCode="0.00">
                  <c:v>12.5</c:v>
                </c:pt>
                <c:pt idx="934" formatCode="0.00">
                  <c:v>12.5</c:v>
                </c:pt>
                <c:pt idx="935" formatCode="0.00">
                  <c:v>12.47</c:v>
                </c:pt>
                <c:pt idx="936" formatCode="0.00">
                  <c:v>12.41</c:v>
                </c:pt>
                <c:pt idx="937" formatCode="0.00">
                  <c:v>12.46</c:v>
                </c:pt>
                <c:pt idx="938" formatCode="0.00">
                  <c:v>12.39</c:v>
                </c:pt>
                <c:pt idx="939" formatCode="0.00">
                  <c:v>12.46</c:v>
                </c:pt>
                <c:pt idx="940" formatCode="0.00">
                  <c:v>12.58</c:v>
                </c:pt>
                <c:pt idx="941" formatCode="0.00">
                  <c:v>12.54</c:v>
                </c:pt>
                <c:pt idx="942" formatCode="0.00">
                  <c:v>12.71</c:v>
                </c:pt>
                <c:pt idx="943" formatCode="0.00">
                  <c:v>12.71</c:v>
                </c:pt>
                <c:pt idx="944" formatCode="0.00">
                  <c:v>12.73</c:v>
                </c:pt>
                <c:pt idx="945" formatCode="0.00">
                  <c:v>12.68</c:v>
                </c:pt>
                <c:pt idx="946" formatCode="0.00">
                  <c:v>12.78</c:v>
                </c:pt>
                <c:pt idx="947" formatCode="0.00">
                  <c:v>13.27</c:v>
                </c:pt>
                <c:pt idx="948" formatCode="0.00">
                  <c:v>13.23</c:v>
                </c:pt>
                <c:pt idx="949" formatCode="0.00">
                  <c:v>12.9</c:v>
                </c:pt>
                <c:pt idx="950" formatCode="0.00">
                  <c:v>12.72</c:v>
                </c:pt>
                <c:pt idx="951" formatCode="0.00">
                  <c:v>12.74</c:v>
                </c:pt>
                <c:pt idx="952" formatCode="0.00">
                  <c:v>12.68</c:v>
                </c:pt>
                <c:pt idx="953" formatCode="0.00">
                  <c:v>12.62</c:v>
                </c:pt>
                <c:pt idx="954" formatCode="0.00">
                  <c:v>12.74</c:v>
                </c:pt>
                <c:pt idx="955" formatCode="0.00">
                  <c:v>12.74</c:v>
                </c:pt>
                <c:pt idx="956" formatCode="0.00">
                  <c:v>12.66</c:v>
                </c:pt>
                <c:pt idx="957" formatCode="0.00">
                  <c:v>12.65</c:v>
                </c:pt>
                <c:pt idx="958" formatCode="0.00">
                  <c:v>12.68</c:v>
                </c:pt>
                <c:pt idx="959" formatCode="0.00">
                  <c:v>12.69</c:v>
                </c:pt>
                <c:pt idx="960" formatCode="0.00">
                  <c:v>12.75</c:v>
                </c:pt>
                <c:pt idx="961" formatCode="0.00">
                  <c:v>12.7</c:v>
                </c:pt>
                <c:pt idx="962" formatCode="0.00">
                  <c:v>12.59</c:v>
                </c:pt>
                <c:pt idx="963" formatCode="0.00">
                  <c:v>12.54</c:v>
                </c:pt>
                <c:pt idx="964" formatCode="0.00">
                  <c:v>12.52</c:v>
                </c:pt>
                <c:pt idx="965" formatCode="0.00">
                  <c:v>12.51</c:v>
                </c:pt>
                <c:pt idx="966" formatCode="0.00">
                  <c:v>12.52</c:v>
                </c:pt>
                <c:pt idx="967" formatCode="0.00">
                  <c:v>12.42</c:v>
                </c:pt>
                <c:pt idx="968" formatCode="0.00">
                  <c:v>12.43</c:v>
                </c:pt>
                <c:pt idx="969" formatCode="0.00">
                  <c:v>12.41</c:v>
                </c:pt>
                <c:pt idx="970" formatCode="0.00">
                  <c:v>12.35</c:v>
                </c:pt>
                <c:pt idx="971" formatCode="0.00">
                  <c:v>12.2</c:v>
                </c:pt>
                <c:pt idx="972" formatCode="0.00">
                  <c:v>12.15</c:v>
                </c:pt>
                <c:pt idx="973" formatCode="0.00">
                  <c:v>12.23</c:v>
                </c:pt>
                <c:pt idx="974" formatCode="0.00">
                  <c:v>12.26</c:v>
                </c:pt>
                <c:pt idx="975" formatCode="0.00">
                  <c:v>12.46</c:v>
                </c:pt>
                <c:pt idx="976" formatCode="0.00">
                  <c:v>12.44</c:v>
                </c:pt>
                <c:pt idx="977" formatCode="0.00">
                  <c:v>12.41</c:v>
                </c:pt>
                <c:pt idx="978" formatCode="0.00">
                  <c:v>11.93</c:v>
                </c:pt>
                <c:pt idx="979" formatCode="0.00">
                  <c:v>11.87</c:v>
                </c:pt>
                <c:pt idx="980" formatCode="0.00">
                  <c:v>11.84</c:v>
                </c:pt>
                <c:pt idx="981" formatCode="0.00">
                  <c:v>11.88</c:v>
                </c:pt>
                <c:pt idx="982" formatCode="0.00">
                  <c:v>11.86</c:v>
                </c:pt>
                <c:pt idx="983" formatCode="0.00">
                  <c:v>11.86</c:v>
                </c:pt>
                <c:pt idx="984" formatCode="0.00">
                  <c:v>11.85</c:v>
                </c:pt>
                <c:pt idx="985" formatCode="0.00">
                  <c:v>11.69</c:v>
                </c:pt>
                <c:pt idx="986" formatCode="0.00">
                  <c:v>11.73</c:v>
                </c:pt>
                <c:pt idx="987" formatCode="0.00">
                  <c:v>11.66</c:v>
                </c:pt>
                <c:pt idx="988" formatCode="0.00">
                  <c:v>11.61</c:v>
                </c:pt>
                <c:pt idx="989" formatCode="0.00">
                  <c:v>11.6</c:v>
                </c:pt>
                <c:pt idx="990" formatCode="0.00">
                  <c:v>11.68</c:v>
                </c:pt>
                <c:pt idx="991" formatCode="0.00">
                  <c:v>11.62</c:v>
                </c:pt>
                <c:pt idx="992" formatCode="0.00">
                  <c:v>11.62</c:v>
                </c:pt>
                <c:pt idx="993" formatCode="0.00">
                  <c:v>11.63</c:v>
                </c:pt>
                <c:pt idx="994" formatCode="0.00">
                  <c:v>11.84</c:v>
                </c:pt>
                <c:pt idx="995" formatCode="0.00">
                  <c:v>11.81</c:v>
                </c:pt>
                <c:pt idx="996" formatCode="0.00">
                  <c:v>11.78</c:v>
                </c:pt>
                <c:pt idx="997" formatCode="0.00">
                  <c:v>11.75</c:v>
                </c:pt>
                <c:pt idx="998" formatCode="0.00">
                  <c:v>11.84</c:v>
                </c:pt>
                <c:pt idx="999" formatCode="0.00">
                  <c:v>11.86</c:v>
                </c:pt>
                <c:pt idx="1000" formatCode="0.00">
                  <c:v>11.86</c:v>
                </c:pt>
                <c:pt idx="1001" formatCode="0.00">
                  <c:v>11.81</c:v>
                </c:pt>
                <c:pt idx="1002" formatCode="0.00">
                  <c:v>11.75</c:v>
                </c:pt>
                <c:pt idx="1003" formatCode="0.00">
                  <c:v>11.77</c:v>
                </c:pt>
                <c:pt idx="1004" formatCode="0.00">
                  <c:v>11.86</c:v>
                </c:pt>
                <c:pt idx="1005" formatCode="0.00">
                  <c:v>11.82</c:v>
                </c:pt>
                <c:pt idx="1006" formatCode="0.00">
                  <c:v>11.74</c:v>
                </c:pt>
                <c:pt idx="1007" formatCode="0.00">
                  <c:v>11.4</c:v>
                </c:pt>
                <c:pt idx="1008" formatCode="0.00">
                  <c:v>11.41</c:v>
                </c:pt>
                <c:pt idx="1009" formatCode="0.00">
                  <c:v>11.44</c:v>
                </c:pt>
                <c:pt idx="1010" formatCode="0.00">
                  <c:v>11.57</c:v>
                </c:pt>
                <c:pt idx="1011" formatCode="0.00">
                  <c:v>11.55</c:v>
                </c:pt>
                <c:pt idx="1012" formatCode="0.00">
                  <c:v>11.54</c:v>
                </c:pt>
                <c:pt idx="1013" formatCode="0.00">
                  <c:v>11.48</c:v>
                </c:pt>
                <c:pt idx="1014" formatCode="0.00">
                  <c:v>11.58</c:v>
                </c:pt>
                <c:pt idx="1015" formatCode="0.00">
                  <c:v>11.58</c:v>
                </c:pt>
                <c:pt idx="1016" formatCode="0.00">
                  <c:v>11.55</c:v>
                </c:pt>
                <c:pt idx="1017" formatCode="0.00">
                  <c:v>11.46</c:v>
                </c:pt>
                <c:pt idx="1018" formatCode="0.00">
                  <c:v>11.45</c:v>
                </c:pt>
                <c:pt idx="1019" formatCode="0.00">
                  <c:v>11.49</c:v>
                </c:pt>
                <c:pt idx="1020" formatCode="0.00">
                  <c:v>11.51</c:v>
                </c:pt>
                <c:pt idx="1021" formatCode="0.00">
                  <c:v>11.5</c:v>
                </c:pt>
                <c:pt idx="1022" formatCode="0.00">
                  <c:v>11.45</c:v>
                </c:pt>
                <c:pt idx="1023" formatCode="0.00">
                  <c:v>11.44</c:v>
                </c:pt>
                <c:pt idx="1024" formatCode="0.00">
                  <c:v>11.41</c:v>
                </c:pt>
                <c:pt idx="1025" formatCode="0.00">
                  <c:v>11.38</c:v>
                </c:pt>
                <c:pt idx="1026" formatCode="0.00">
                  <c:v>11.39</c:v>
                </c:pt>
                <c:pt idx="1027" formatCode="0.00">
                  <c:v>11.34</c:v>
                </c:pt>
                <c:pt idx="1028" formatCode="0.00">
                  <c:v>11.35</c:v>
                </c:pt>
                <c:pt idx="1029" formatCode="0.00">
                  <c:v>11.36</c:v>
                </c:pt>
                <c:pt idx="1030" formatCode="0.00">
                  <c:v>11.36</c:v>
                </c:pt>
                <c:pt idx="1031" formatCode="0.00">
                  <c:v>11.39</c:v>
                </c:pt>
                <c:pt idx="1032" formatCode="0.00">
                  <c:v>11.37</c:v>
                </c:pt>
                <c:pt idx="1033" formatCode="0.00">
                  <c:v>11.45</c:v>
                </c:pt>
                <c:pt idx="1034" formatCode="0.00">
                  <c:v>11.47</c:v>
                </c:pt>
                <c:pt idx="1035" formatCode="0.00">
                  <c:v>11.51</c:v>
                </c:pt>
                <c:pt idx="1036" formatCode="0.00">
                  <c:v>11.5</c:v>
                </c:pt>
                <c:pt idx="1037" formatCode="0.00">
                  <c:v>11.5</c:v>
                </c:pt>
                <c:pt idx="1038" formatCode="0.00">
                  <c:v>11.55</c:v>
                </c:pt>
                <c:pt idx="1039" formatCode="0.00">
                  <c:v>11.7</c:v>
                </c:pt>
                <c:pt idx="1040" formatCode="0.00">
                  <c:v>11.63</c:v>
                </c:pt>
                <c:pt idx="1041" formatCode="0.00">
                  <c:v>11.66</c:v>
                </c:pt>
                <c:pt idx="1042" formatCode="0.00">
                  <c:v>11.57</c:v>
                </c:pt>
                <c:pt idx="1043" formatCode="0.00">
                  <c:v>11.52</c:v>
                </c:pt>
                <c:pt idx="1044" formatCode="0.00">
                  <c:v>11.49</c:v>
                </c:pt>
                <c:pt idx="1045" formatCode="0.00">
                  <c:v>11.5</c:v>
                </c:pt>
                <c:pt idx="1046" formatCode="0.00">
                  <c:v>11.5</c:v>
                </c:pt>
                <c:pt idx="1047" formatCode="0.00">
                  <c:v>11.52</c:v>
                </c:pt>
                <c:pt idx="1048" formatCode="0.00">
                  <c:v>11.51</c:v>
                </c:pt>
                <c:pt idx="1049" formatCode="0.00">
                  <c:v>11.5</c:v>
                </c:pt>
                <c:pt idx="1050" formatCode="0.00">
                  <c:v>11.47</c:v>
                </c:pt>
                <c:pt idx="1051" formatCode="0.00">
                  <c:v>11.43</c:v>
                </c:pt>
                <c:pt idx="1052" formatCode="0.00">
                  <c:v>11.43</c:v>
                </c:pt>
                <c:pt idx="1053" formatCode="0.00">
                  <c:v>11.43</c:v>
                </c:pt>
                <c:pt idx="1054" formatCode="0.00">
                  <c:v>11.43</c:v>
                </c:pt>
                <c:pt idx="1055" formatCode="0.00">
                  <c:v>11.47</c:v>
                </c:pt>
                <c:pt idx="1056" formatCode="0.00">
                  <c:v>11.47</c:v>
                </c:pt>
                <c:pt idx="1057" formatCode="0.00">
                  <c:v>11.45</c:v>
                </c:pt>
                <c:pt idx="1058" formatCode="0.00">
                  <c:v>11.35</c:v>
                </c:pt>
                <c:pt idx="1059" formatCode="0.00">
                  <c:v>11.38</c:v>
                </c:pt>
                <c:pt idx="1060" formatCode="0.00">
                  <c:v>11.39</c:v>
                </c:pt>
                <c:pt idx="1061" formatCode="0.00">
                  <c:v>11.4</c:v>
                </c:pt>
                <c:pt idx="1062" formatCode="0.00">
                  <c:v>11.41</c:v>
                </c:pt>
                <c:pt idx="1063" formatCode="0.00">
                  <c:v>11.42</c:v>
                </c:pt>
                <c:pt idx="1064" formatCode="0.00">
                  <c:v>11.4</c:v>
                </c:pt>
                <c:pt idx="1065" formatCode="0.00">
                  <c:v>11.4</c:v>
                </c:pt>
                <c:pt idx="1066" formatCode="0.00">
                  <c:v>11.36</c:v>
                </c:pt>
                <c:pt idx="1067" formatCode="0.00">
                  <c:v>11.31</c:v>
                </c:pt>
                <c:pt idx="1068" formatCode="0.00">
                  <c:v>11.26</c:v>
                </c:pt>
                <c:pt idx="1069" formatCode="0.00">
                  <c:v>11.26</c:v>
                </c:pt>
                <c:pt idx="1070" formatCode="0.00">
                  <c:v>11.21</c:v>
                </c:pt>
                <c:pt idx="1071" formatCode="0.00">
                  <c:v>11.26</c:v>
                </c:pt>
                <c:pt idx="1072" formatCode="0.00">
                  <c:v>11.34</c:v>
                </c:pt>
                <c:pt idx="1073" formatCode="0.00">
                  <c:v>11.35</c:v>
                </c:pt>
                <c:pt idx="1074" formatCode="0.00">
                  <c:v>11.31</c:v>
                </c:pt>
                <c:pt idx="1075" formatCode="0.00">
                  <c:v>11.27</c:v>
                </c:pt>
                <c:pt idx="1076" formatCode="0.00">
                  <c:v>11.16</c:v>
                </c:pt>
                <c:pt idx="1077" formatCode="0.00">
                  <c:v>11.13</c:v>
                </c:pt>
                <c:pt idx="1078" formatCode="0.00">
                  <c:v>11.14</c:v>
                </c:pt>
                <c:pt idx="1079" formatCode="0.00">
                  <c:v>11.18</c:v>
                </c:pt>
                <c:pt idx="1080" formatCode="0.00">
                  <c:v>11.17</c:v>
                </c:pt>
                <c:pt idx="1081" formatCode="0.00">
                  <c:v>11.01</c:v>
                </c:pt>
                <c:pt idx="1082" formatCode="0.00">
                  <c:v>11.01</c:v>
                </c:pt>
                <c:pt idx="1083" formatCode="0.00">
                  <c:v>11.02</c:v>
                </c:pt>
                <c:pt idx="1084" formatCode="0.00">
                  <c:v>11.35</c:v>
                </c:pt>
                <c:pt idx="1085" formatCode="0.00">
                  <c:v>11.24</c:v>
                </c:pt>
                <c:pt idx="1086" formatCode="0.00">
                  <c:v>11.19</c:v>
                </c:pt>
                <c:pt idx="1087" formatCode="0.00">
                  <c:v>11.09</c:v>
                </c:pt>
                <c:pt idx="1088" formatCode="0.00">
                  <c:v>11.1</c:v>
                </c:pt>
                <c:pt idx="1089" formatCode="0.00">
                  <c:v>11.07</c:v>
                </c:pt>
                <c:pt idx="1090" formatCode="0.00">
                  <c:v>11.09</c:v>
                </c:pt>
                <c:pt idx="1091" formatCode="0.00">
                  <c:v>11.11</c:v>
                </c:pt>
                <c:pt idx="1092" formatCode="0.00">
                  <c:v>11.09</c:v>
                </c:pt>
                <c:pt idx="1093" formatCode="0.00">
                  <c:v>11.06</c:v>
                </c:pt>
                <c:pt idx="1094" formatCode="0.00">
                  <c:v>11.04</c:v>
                </c:pt>
                <c:pt idx="1095" formatCode="0.00">
                  <c:v>11</c:v>
                </c:pt>
                <c:pt idx="1096" formatCode="0.00">
                  <c:v>11.02</c:v>
                </c:pt>
                <c:pt idx="1097" formatCode="0.00">
                  <c:v>11.06</c:v>
                </c:pt>
                <c:pt idx="1098" formatCode="0.00">
                  <c:v>11.18</c:v>
                </c:pt>
                <c:pt idx="1099" formatCode="0.00">
                  <c:v>11.2</c:v>
                </c:pt>
                <c:pt idx="1100" formatCode="0.00">
                  <c:v>11.14</c:v>
                </c:pt>
                <c:pt idx="1101" formatCode="0.00">
                  <c:v>11.14</c:v>
                </c:pt>
                <c:pt idx="1102" formatCode="0.00">
                  <c:v>11.05</c:v>
                </c:pt>
                <c:pt idx="1103" formatCode="0.00">
                  <c:v>11.01</c:v>
                </c:pt>
                <c:pt idx="1104" formatCode="0.00">
                  <c:v>10.97</c:v>
                </c:pt>
                <c:pt idx="1105" formatCode="0.00">
                  <c:v>10.96</c:v>
                </c:pt>
                <c:pt idx="1106" formatCode="0.00">
                  <c:v>10.95</c:v>
                </c:pt>
                <c:pt idx="1107" formatCode="0.00">
                  <c:v>11</c:v>
                </c:pt>
                <c:pt idx="1108" formatCode="0.00">
                  <c:v>10.79</c:v>
                </c:pt>
                <c:pt idx="1109" formatCode="0.00">
                  <c:v>10.79</c:v>
                </c:pt>
                <c:pt idx="1110" formatCode="0.00">
                  <c:v>10.82</c:v>
                </c:pt>
                <c:pt idx="1111" formatCode="0.00">
                  <c:v>10.84</c:v>
                </c:pt>
                <c:pt idx="1112" formatCode="0.00">
                  <c:v>10.84</c:v>
                </c:pt>
                <c:pt idx="1113" formatCode="0.00">
                  <c:v>10.87</c:v>
                </c:pt>
                <c:pt idx="1114" formatCode="0.00">
                  <c:v>10.81</c:v>
                </c:pt>
                <c:pt idx="1115" formatCode="0.00">
                  <c:v>10.8</c:v>
                </c:pt>
                <c:pt idx="1116" formatCode="0.00">
                  <c:v>10.78</c:v>
                </c:pt>
                <c:pt idx="1117" formatCode="0.00">
                  <c:v>10.76</c:v>
                </c:pt>
                <c:pt idx="1118" formatCode="0.00">
                  <c:v>10.76</c:v>
                </c:pt>
                <c:pt idx="1119" formatCode="0.00">
                  <c:v>10.73</c:v>
                </c:pt>
                <c:pt idx="1120" formatCode="0.00">
                  <c:v>10.56</c:v>
                </c:pt>
                <c:pt idx="1121" formatCode="0.00">
                  <c:v>10.57</c:v>
                </c:pt>
                <c:pt idx="1122" formatCode="0.00">
                  <c:v>10.55</c:v>
                </c:pt>
                <c:pt idx="1123" formatCode="0.00">
                  <c:v>10.55</c:v>
                </c:pt>
                <c:pt idx="1124" formatCode="0.00">
                  <c:v>10.6</c:v>
                </c:pt>
                <c:pt idx="1125" formatCode="0.00">
                  <c:v>11.55</c:v>
                </c:pt>
                <c:pt idx="1126" formatCode="0.00">
                  <c:v>10.54</c:v>
                </c:pt>
                <c:pt idx="1127" formatCode="0.00">
                  <c:v>10.54</c:v>
                </c:pt>
                <c:pt idx="1128" formatCode="0.00">
                  <c:v>10.51</c:v>
                </c:pt>
                <c:pt idx="1129" formatCode="0.00">
                  <c:v>10.43</c:v>
                </c:pt>
                <c:pt idx="1130" formatCode="0.00">
                  <c:v>10.44</c:v>
                </c:pt>
                <c:pt idx="1131" formatCode="0.00">
                  <c:v>10.42</c:v>
                </c:pt>
                <c:pt idx="1132" formatCode="0.00">
                  <c:v>10.4</c:v>
                </c:pt>
                <c:pt idx="1133" formatCode="0.00">
                  <c:v>10.42</c:v>
                </c:pt>
                <c:pt idx="1134" formatCode="0.00">
                  <c:v>10.4</c:v>
                </c:pt>
                <c:pt idx="1135" formatCode="0.00">
                  <c:v>10.4</c:v>
                </c:pt>
                <c:pt idx="1136" formatCode="0.00">
                  <c:v>10.39</c:v>
                </c:pt>
                <c:pt idx="1137" formatCode="0.00">
                  <c:v>10.32</c:v>
                </c:pt>
                <c:pt idx="1138" formatCode="0.00">
                  <c:v>10.29</c:v>
                </c:pt>
                <c:pt idx="1139" formatCode="0.00">
                  <c:v>10.27</c:v>
                </c:pt>
                <c:pt idx="1140" formatCode="0.00">
                  <c:v>10.220000000000001</c:v>
                </c:pt>
                <c:pt idx="1141" formatCode="0.00">
                  <c:v>10.14</c:v>
                </c:pt>
                <c:pt idx="1142" formatCode="0.00">
                  <c:v>10.09</c:v>
                </c:pt>
                <c:pt idx="1143" formatCode="0.00">
                  <c:v>9.86</c:v>
                </c:pt>
                <c:pt idx="1144" formatCode="0.00">
                  <c:v>9.81</c:v>
                </c:pt>
                <c:pt idx="1145" formatCode="0.00">
                  <c:v>9.81</c:v>
                </c:pt>
                <c:pt idx="1146" formatCode="0.00">
                  <c:v>9.8000000000000007</c:v>
                </c:pt>
                <c:pt idx="1147" formatCode="0.00">
                  <c:v>9.7899999999999991</c:v>
                </c:pt>
                <c:pt idx="1148" formatCode="0.00">
                  <c:v>9.81</c:v>
                </c:pt>
                <c:pt idx="1149" formatCode="0.00">
                  <c:v>9.77</c:v>
                </c:pt>
                <c:pt idx="1150" formatCode="0.00">
                  <c:v>9.75</c:v>
                </c:pt>
                <c:pt idx="1151" formatCode="0.00">
                  <c:v>9.7200000000000006</c:v>
                </c:pt>
                <c:pt idx="1152" formatCode="0.00">
                  <c:v>9.7100000000000009</c:v>
                </c:pt>
                <c:pt idx="1153" formatCode="0.00">
                  <c:v>9.6999999999999993</c:v>
                </c:pt>
                <c:pt idx="1154" formatCode="0.00">
                  <c:v>9.6999999999999993</c:v>
                </c:pt>
                <c:pt idx="1155" formatCode="0.00">
                  <c:v>9.6999999999999993</c:v>
                </c:pt>
                <c:pt idx="1156" formatCode="0.00">
                  <c:v>9.64</c:v>
                </c:pt>
                <c:pt idx="1157" formatCode="0.00">
                  <c:v>9.6199999999999992</c:v>
                </c:pt>
                <c:pt idx="1158" formatCode="0.00">
                  <c:v>9.59</c:v>
                </c:pt>
                <c:pt idx="1159" formatCode="0.00">
                  <c:v>9.57</c:v>
                </c:pt>
                <c:pt idx="1160" formatCode="0.00">
                  <c:v>9.57</c:v>
                </c:pt>
                <c:pt idx="1161" formatCode="0.00">
                  <c:v>9.57</c:v>
                </c:pt>
                <c:pt idx="1162" formatCode="0.00">
                  <c:v>9.61</c:v>
                </c:pt>
                <c:pt idx="1163" formatCode="0.00">
                  <c:v>9.61</c:v>
                </c:pt>
                <c:pt idx="1164" formatCode="0.00">
                  <c:v>9.58</c:v>
                </c:pt>
                <c:pt idx="1165" formatCode="0.00">
                  <c:v>9.51</c:v>
                </c:pt>
                <c:pt idx="1166" formatCode="0.00">
                  <c:v>9.5</c:v>
                </c:pt>
                <c:pt idx="1167" formatCode="0.00">
                  <c:v>9.48</c:v>
                </c:pt>
                <c:pt idx="1168" formatCode="0.00">
                  <c:v>9.49</c:v>
                </c:pt>
                <c:pt idx="1169" formatCode="0.00">
                  <c:v>9.4700000000000006</c:v>
                </c:pt>
                <c:pt idx="1170" formatCode="0.00">
                  <c:v>9.3800000000000008</c:v>
                </c:pt>
                <c:pt idx="1171" formatCode="0.00">
                  <c:v>9.3699999999999992</c:v>
                </c:pt>
                <c:pt idx="1172" formatCode="0.00">
                  <c:v>9.36</c:v>
                </c:pt>
                <c:pt idx="1173" formatCode="0.00">
                  <c:v>9.3800000000000008</c:v>
                </c:pt>
                <c:pt idx="1174" formatCode="0.00">
                  <c:v>9.3800000000000008</c:v>
                </c:pt>
                <c:pt idx="1175" formatCode="0.00">
                  <c:v>9.33</c:v>
                </c:pt>
                <c:pt idx="1176" formatCode="0.00">
                  <c:v>9.33</c:v>
                </c:pt>
                <c:pt idx="1177" formatCode="0.00">
                  <c:v>9.32</c:v>
                </c:pt>
                <c:pt idx="1178" formatCode="0.00">
                  <c:v>9.33</c:v>
                </c:pt>
                <c:pt idx="1179" formatCode="0.00">
                  <c:v>9.24</c:v>
                </c:pt>
                <c:pt idx="1180" formatCode="0.00">
                  <c:v>9.19</c:v>
                </c:pt>
                <c:pt idx="1181" formatCode="0.00">
                  <c:v>9.17</c:v>
                </c:pt>
                <c:pt idx="1182" formatCode="0.00">
                  <c:v>9.24</c:v>
                </c:pt>
                <c:pt idx="1183" formatCode="0.00">
                  <c:v>9.2200000000000006</c:v>
                </c:pt>
                <c:pt idx="1184" formatCode="0.00">
                  <c:v>9.16</c:v>
                </c:pt>
                <c:pt idx="1185" formatCode="0.00">
                  <c:v>9.19</c:v>
                </c:pt>
                <c:pt idx="1186" formatCode="0.00">
                  <c:v>9.1300000000000008</c:v>
                </c:pt>
                <c:pt idx="1187" formatCode="0.00">
                  <c:v>9.11</c:v>
                </c:pt>
                <c:pt idx="1188" formatCode="0.00">
                  <c:v>9.1</c:v>
                </c:pt>
                <c:pt idx="1189" formatCode="0.00">
                  <c:v>9.0399999999999991</c:v>
                </c:pt>
                <c:pt idx="1190" formatCode="0.00">
                  <c:v>9.0399999999999991</c:v>
                </c:pt>
                <c:pt idx="1191" formatCode="0.00">
                  <c:v>8.99</c:v>
                </c:pt>
                <c:pt idx="1192" formatCode="0.00">
                  <c:v>8.9499999999999993</c:v>
                </c:pt>
                <c:pt idx="1193" formatCode="0.00">
                  <c:v>8.9</c:v>
                </c:pt>
                <c:pt idx="1194" formatCode="0.00">
                  <c:v>8.84</c:v>
                </c:pt>
                <c:pt idx="1195" formatCode="0.00">
                  <c:v>8.89</c:v>
                </c:pt>
                <c:pt idx="1196" formatCode="0.00">
                  <c:v>8.89</c:v>
                </c:pt>
                <c:pt idx="1197" formatCode="0.00">
                  <c:v>8.89</c:v>
                </c:pt>
                <c:pt idx="1198" formatCode="0.00">
                  <c:v>8.84</c:v>
                </c:pt>
                <c:pt idx="1199" formatCode="0.00">
                  <c:v>8.81</c:v>
                </c:pt>
                <c:pt idx="1200" formatCode="0.00">
                  <c:v>8.77</c:v>
                </c:pt>
                <c:pt idx="1201" formatCode="0.00">
                  <c:v>8.73</c:v>
                </c:pt>
                <c:pt idx="1202" formatCode="0.00">
                  <c:v>8.68</c:v>
                </c:pt>
                <c:pt idx="1203" formatCode="0.00">
                  <c:v>8.6300000000000008</c:v>
                </c:pt>
                <c:pt idx="1204" formatCode="0.00">
                  <c:v>8.58</c:v>
                </c:pt>
                <c:pt idx="1205" formatCode="0.00">
                  <c:v>8.5500000000000007</c:v>
                </c:pt>
                <c:pt idx="1206" formatCode="0.00">
                  <c:v>8.5299999999999994</c:v>
                </c:pt>
                <c:pt idx="1207" formatCode="0.00">
                  <c:v>8.52</c:v>
                </c:pt>
                <c:pt idx="1208" formatCode="0.00">
                  <c:v>8.51</c:v>
                </c:pt>
                <c:pt idx="1209" formatCode="0.00">
                  <c:v>8.5</c:v>
                </c:pt>
                <c:pt idx="1210" formatCode="0.00">
                  <c:v>8.49</c:v>
                </c:pt>
                <c:pt idx="1211" formatCode="0.00">
                  <c:v>8.3699999999999992</c:v>
                </c:pt>
                <c:pt idx="1212" formatCode="0.00">
                  <c:v>8.27</c:v>
                </c:pt>
                <c:pt idx="1213" formatCode="0.00">
                  <c:v>8.2100000000000009</c:v>
                </c:pt>
                <c:pt idx="1214" formatCode="0.00">
                  <c:v>8.1</c:v>
                </c:pt>
                <c:pt idx="1215" formatCode="0.00">
                  <c:v>8.1</c:v>
                </c:pt>
                <c:pt idx="1216" formatCode="0.00">
                  <c:v>7.99</c:v>
                </c:pt>
                <c:pt idx="1217" formatCode="0.00">
                  <c:v>7.93</c:v>
                </c:pt>
                <c:pt idx="1218" formatCode="0.00">
                  <c:v>7.89</c:v>
                </c:pt>
                <c:pt idx="1219" formatCode="0.00">
                  <c:v>7.83</c:v>
                </c:pt>
                <c:pt idx="1220" formatCode="0.00">
                  <c:v>7.82</c:v>
                </c:pt>
                <c:pt idx="1221" formatCode="0.00">
                  <c:v>7.8</c:v>
                </c:pt>
                <c:pt idx="1222" formatCode="0.00">
                  <c:v>7.81</c:v>
                </c:pt>
                <c:pt idx="1223" formatCode="0.00">
                  <c:v>7.8</c:v>
                </c:pt>
                <c:pt idx="1224" formatCode="0.00">
                  <c:v>7.71</c:v>
                </c:pt>
                <c:pt idx="1225" formatCode="0.00">
                  <c:v>7.54</c:v>
                </c:pt>
                <c:pt idx="1226" formatCode="0.00">
                  <c:v>7.54</c:v>
                </c:pt>
                <c:pt idx="1227" formatCode="0.00">
                  <c:v>7.41</c:v>
                </c:pt>
                <c:pt idx="1228" formatCode="0.00">
                  <c:v>7.48</c:v>
                </c:pt>
                <c:pt idx="1229" formatCode="0.00">
                  <c:v>7.74</c:v>
                </c:pt>
                <c:pt idx="1230" formatCode="0.00">
                  <c:v>7.72</c:v>
                </c:pt>
                <c:pt idx="1231" formatCode="0.00">
                  <c:v>7.73</c:v>
                </c:pt>
                <c:pt idx="1232" formatCode="0.00">
                  <c:v>7.72</c:v>
                </c:pt>
                <c:pt idx="1233" formatCode="0.00">
                  <c:v>7.71</c:v>
                </c:pt>
                <c:pt idx="1234" formatCode="0.00">
                  <c:v>7.74</c:v>
                </c:pt>
                <c:pt idx="1235" formatCode="0.00">
                  <c:v>7.78</c:v>
                </c:pt>
                <c:pt idx="1236" formatCode="0.00">
                  <c:v>7.79</c:v>
                </c:pt>
                <c:pt idx="1237" formatCode="0.00">
                  <c:v>7.79</c:v>
                </c:pt>
                <c:pt idx="1238" formatCode="0.00">
                  <c:v>7.7</c:v>
                </c:pt>
                <c:pt idx="1239" formatCode="0.00">
                  <c:v>7.67</c:v>
                </c:pt>
                <c:pt idx="1240" formatCode="0.00">
                  <c:v>7.65</c:v>
                </c:pt>
                <c:pt idx="1241" formatCode="0.00">
                  <c:v>7.67</c:v>
                </c:pt>
                <c:pt idx="1242" formatCode="0.00">
                  <c:v>7.65</c:v>
                </c:pt>
                <c:pt idx="1243" formatCode="0.00">
                  <c:v>7.65</c:v>
                </c:pt>
                <c:pt idx="1244" formatCode="0.00">
                  <c:v>7.66</c:v>
                </c:pt>
                <c:pt idx="1245" formatCode="0.00">
                  <c:v>7.66</c:v>
                </c:pt>
                <c:pt idx="1246" formatCode="0.00">
                  <c:v>7.66</c:v>
                </c:pt>
                <c:pt idx="1247" formatCode="0.00">
                  <c:v>7.65</c:v>
                </c:pt>
                <c:pt idx="1248" formatCode="0.00">
                  <c:v>7.63</c:v>
                </c:pt>
                <c:pt idx="1249" formatCode="0.00">
                  <c:v>7.59</c:v>
                </c:pt>
                <c:pt idx="1250" formatCode="0.00">
                  <c:v>7.6</c:v>
                </c:pt>
                <c:pt idx="1251" formatCode="0.00">
                  <c:v>7.64</c:v>
                </c:pt>
                <c:pt idx="1252" formatCode="0.00">
                  <c:v>7.7</c:v>
                </c:pt>
                <c:pt idx="1253" formatCode="0.00">
                  <c:v>7.69</c:v>
                </c:pt>
                <c:pt idx="1254" formatCode="0.00">
                  <c:v>7.67</c:v>
                </c:pt>
                <c:pt idx="1255" formatCode="0.00">
                  <c:v>7.69</c:v>
                </c:pt>
                <c:pt idx="1256" formatCode="0.00">
                  <c:v>7.69</c:v>
                </c:pt>
                <c:pt idx="1257" formatCode="0.00">
                  <c:v>7.58</c:v>
                </c:pt>
                <c:pt idx="1258" formatCode="0.00">
                  <c:v>7.56</c:v>
                </c:pt>
                <c:pt idx="1259" formatCode="0.00">
                  <c:v>7.55</c:v>
                </c:pt>
                <c:pt idx="1260" formatCode="0.00">
                  <c:v>7.57</c:v>
                </c:pt>
                <c:pt idx="1261" formatCode="0.00">
                  <c:v>7.55</c:v>
                </c:pt>
                <c:pt idx="1262" formatCode="0.00">
                  <c:v>7.55</c:v>
                </c:pt>
                <c:pt idx="1263" formatCode="0.00">
                  <c:v>7.53</c:v>
                </c:pt>
                <c:pt idx="1264" formatCode="0.00">
                  <c:v>7.5</c:v>
                </c:pt>
                <c:pt idx="1265" formatCode="0.00">
                  <c:v>7.48</c:v>
                </c:pt>
                <c:pt idx="1266" formatCode="0.00">
                  <c:v>7.47</c:v>
                </c:pt>
                <c:pt idx="1267" formatCode="0.00">
                  <c:v>7.47</c:v>
                </c:pt>
                <c:pt idx="1268" formatCode="0.00">
                  <c:v>7.47</c:v>
                </c:pt>
                <c:pt idx="1269" formatCode="0.00">
                  <c:v>7.47</c:v>
                </c:pt>
                <c:pt idx="1270" formatCode="0.00">
                  <c:v>7.46</c:v>
                </c:pt>
                <c:pt idx="1271" formatCode="0.00">
                  <c:v>7.47</c:v>
                </c:pt>
                <c:pt idx="1272" formatCode="0.00">
                  <c:v>7.47</c:v>
                </c:pt>
                <c:pt idx="1273" formatCode="0.00">
                  <c:v>7.47</c:v>
                </c:pt>
                <c:pt idx="1274" formatCode="0.00">
                  <c:v>7.45</c:v>
                </c:pt>
                <c:pt idx="1275" formatCode="0.00">
                  <c:v>7.41</c:v>
                </c:pt>
                <c:pt idx="1276" formatCode="0.00">
                  <c:v>7.29</c:v>
                </c:pt>
                <c:pt idx="1277" formatCode="0.00">
                  <c:v>7.31</c:v>
                </c:pt>
                <c:pt idx="1278" formatCode="0.00">
                  <c:v>7.31</c:v>
                </c:pt>
                <c:pt idx="1279" formatCode="0.00">
                  <c:v>7.3</c:v>
                </c:pt>
                <c:pt idx="1280" formatCode="0.00">
                  <c:v>7.31</c:v>
                </c:pt>
                <c:pt idx="1281" formatCode="0.00">
                  <c:v>7.3</c:v>
                </c:pt>
                <c:pt idx="1282" formatCode="0.00">
                  <c:v>7.28</c:v>
                </c:pt>
                <c:pt idx="1283" formatCode="0.00">
                  <c:v>7.24</c:v>
                </c:pt>
                <c:pt idx="1284" formatCode="0.00">
                  <c:v>7.22</c:v>
                </c:pt>
                <c:pt idx="1285" formatCode="0.00">
                  <c:v>7.14</c:v>
                </c:pt>
                <c:pt idx="1286" formatCode="0.00">
                  <c:v>7.1</c:v>
                </c:pt>
                <c:pt idx="1287" formatCode="0.00">
                  <c:v>7.1</c:v>
                </c:pt>
                <c:pt idx="1288" formatCode="0.00">
                  <c:v>7.1</c:v>
                </c:pt>
                <c:pt idx="1289" formatCode="0.00">
                  <c:v>7.1</c:v>
                </c:pt>
                <c:pt idx="1290" formatCode="0.00">
                  <c:v>7.09</c:v>
                </c:pt>
                <c:pt idx="1291" formatCode="0.00">
                  <c:v>7.08</c:v>
                </c:pt>
                <c:pt idx="1292" formatCode="0.00">
                  <c:v>7.08</c:v>
                </c:pt>
                <c:pt idx="1293" formatCode="0.00">
                  <c:v>7.07</c:v>
                </c:pt>
                <c:pt idx="1294" formatCode="0.00">
                  <c:v>7.06</c:v>
                </c:pt>
                <c:pt idx="1295" formatCode="0.00">
                  <c:v>7.05</c:v>
                </c:pt>
                <c:pt idx="1296" formatCode="0.00">
                  <c:v>7</c:v>
                </c:pt>
                <c:pt idx="1297" formatCode="0.00">
                  <c:v>6.97</c:v>
                </c:pt>
                <c:pt idx="1298" formatCode="0.00">
                  <c:v>6.92</c:v>
                </c:pt>
                <c:pt idx="1299" formatCode="0.00">
                  <c:v>6.9</c:v>
                </c:pt>
                <c:pt idx="1300" formatCode="0.00">
                  <c:v>6.87</c:v>
                </c:pt>
                <c:pt idx="1301" formatCode="0.00">
                  <c:v>6.85</c:v>
                </c:pt>
                <c:pt idx="1302" formatCode="0.00">
                  <c:v>6.85</c:v>
                </c:pt>
                <c:pt idx="1303" formatCode="0.00">
                  <c:v>6.84</c:v>
                </c:pt>
                <c:pt idx="1304" formatCode="0.00">
                  <c:v>6.81</c:v>
                </c:pt>
                <c:pt idx="1305" formatCode="0.00">
                  <c:v>6.79</c:v>
                </c:pt>
                <c:pt idx="1306" formatCode="0.00">
                  <c:v>6.77</c:v>
                </c:pt>
                <c:pt idx="1307" formatCode="0.00">
                  <c:v>6.73</c:v>
                </c:pt>
                <c:pt idx="1308" formatCode="#,##0.00">
                  <c:v>6.73</c:v>
                </c:pt>
                <c:pt idx="1309" formatCode="#,##0.00">
                  <c:v>6.72</c:v>
                </c:pt>
                <c:pt idx="1310" formatCode="#,##0.00">
                  <c:v>6.71</c:v>
                </c:pt>
                <c:pt idx="1311" formatCode="#,##0.00">
                  <c:v>6.72</c:v>
                </c:pt>
                <c:pt idx="1312" formatCode="#,##0.00">
                  <c:v>6.7</c:v>
                </c:pt>
                <c:pt idx="1313" formatCode="#,##0.00">
                  <c:v>6.7</c:v>
                </c:pt>
                <c:pt idx="1314" formatCode="#,##0.00">
                  <c:v>6.7</c:v>
                </c:pt>
                <c:pt idx="1315" formatCode="#,##0.00">
                  <c:v>6.68</c:v>
                </c:pt>
                <c:pt idx="1316" formatCode="#,##0.00">
                  <c:v>6.6</c:v>
                </c:pt>
                <c:pt idx="1317" formatCode="#,##0.00">
                  <c:v>6.58</c:v>
                </c:pt>
                <c:pt idx="1318" formatCode="#,##0.00">
                  <c:v>6.59</c:v>
                </c:pt>
                <c:pt idx="1319" formatCode="#,##0.00">
                  <c:v>6.59</c:v>
                </c:pt>
                <c:pt idx="1320" formatCode="#,##0.00">
                  <c:v>6.6</c:v>
                </c:pt>
                <c:pt idx="1321" formatCode="#,##0.00">
                  <c:v>6.59</c:v>
                </c:pt>
                <c:pt idx="1322" formatCode="#,##0.00">
                  <c:v>6.59</c:v>
                </c:pt>
                <c:pt idx="1323" formatCode="#,##0.00">
                  <c:v>6.59</c:v>
                </c:pt>
                <c:pt idx="1324" formatCode="#,##0.00">
                  <c:v>6.58</c:v>
                </c:pt>
                <c:pt idx="1325" formatCode="#,##0.00">
                  <c:v>6.57</c:v>
                </c:pt>
                <c:pt idx="1326" formatCode="#,##0.00">
                  <c:v>6.56</c:v>
                </c:pt>
                <c:pt idx="1327" formatCode="#,##0.00">
                  <c:v>6.56</c:v>
                </c:pt>
                <c:pt idx="1328" formatCode="#,##0.00">
                  <c:v>6.53</c:v>
                </c:pt>
                <c:pt idx="1329" formatCode="#,##0.00">
                  <c:v>6.52</c:v>
                </c:pt>
                <c:pt idx="1330" formatCode="#,##0.00">
                  <c:v>6.47</c:v>
                </c:pt>
                <c:pt idx="1331" formatCode="#,##0.00">
                  <c:v>6.44</c:v>
                </c:pt>
                <c:pt idx="1332" formatCode="#,##0.00">
                  <c:v>6.4</c:v>
                </c:pt>
                <c:pt idx="1333" formatCode="#,##0.00">
                  <c:v>6.38</c:v>
                </c:pt>
                <c:pt idx="1334" formatCode="#,##0.00">
                  <c:v>6.37</c:v>
                </c:pt>
                <c:pt idx="1335" formatCode="#,##0.00">
                  <c:v>6.37</c:v>
                </c:pt>
                <c:pt idx="1336" formatCode="#,##0.00">
                  <c:v>6.37</c:v>
                </c:pt>
                <c:pt idx="1337" formatCode="#,##0.00">
                  <c:v>6.36</c:v>
                </c:pt>
                <c:pt idx="1338" formatCode="#,##0.00">
                  <c:v>6.37</c:v>
                </c:pt>
                <c:pt idx="1339" formatCode="#,##0.00">
                  <c:v>6.34</c:v>
                </c:pt>
                <c:pt idx="1340" formatCode="#,##0.00">
                  <c:v>6.34</c:v>
                </c:pt>
                <c:pt idx="1341" formatCode="#,##0.00">
                  <c:v>6.16</c:v>
                </c:pt>
                <c:pt idx="1342" formatCode="#,##0.00">
                  <c:v>6.11</c:v>
                </c:pt>
                <c:pt idx="1343" formatCode="#,##0.00">
                  <c:v>6.11</c:v>
                </c:pt>
                <c:pt idx="1344" formatCode="#,##0.00">
                  <c:v>6.11</c:v>
                </c:pt>
                <c:pt idx="1345" formatCode="#,##0.00">
                  <c:v>6.1</c:v>
                </c:pt>
                <c:pt idx="1346" formatCode="#,##0.00">
                  <c:v>6.1</c:v>
                </c:pt>
                <c:pt idx="1347" formatCode="#,##0.00">
                  <c:v>6.09</c:v>
                </c:pt>
                <c:pt idx="1348" formatCode="#,##0.00">
                  <c:v>6.04</c:v>
                </c:pt>
                <c:pt idx="1349" formatCode="#,##0.00">
                  <c:v>5.99</c:v>
                </c:pt>
                <c:pt idx="1350" formatCode="#,##0.00">
                  <c:v>5.97</c:v>
                </c:pt>
                <c:pt idx="1351" formatCode="#,##0.00">
                  <c:v>5.94</c:v>
                </c:pt>
                <c:pt idx="1352" formatCode="#,##0.00">
                  <c:v>5.92</c:v>
                </c:pt>
                <c:pt idx="1353" formatCode="#,##0.00">
                  <c:v>5.91</c:v>
                </c:pt>
                <c:pt idx="1354" formatCode="#,##0.00">
                  <c:v>5.91</c:v>
                </c:pt>
                <c:pt idx="1355" formatCode="#,##0.00">
                  <c:v>5.9</c:v>
                </c:pt>
                <c:pt idx="1356" formatCode="#,##0.00">
                  <c:v>5.83</c:v>
                </c:pt>
                <c:pt idx="1357" formatCode="#,##0.00">
                  <c:v>5.81</c:v>
                </c:pt>
                <c:pt idx="1358" formatCode="#,##0.00">
                  <c:v>5.79</c:v>
                </c:pt>
                <c:pt idx="1359" formatCode="#,##0.00">
                  <c:v>5.82</c:v>
                </c:pt>
                <c:pt idx="1360" formatCode="#,##0.00">
                  <c:v>5.81</c:v>
                </c:pt>
                <c:pt idx="1361" formatCode="#,##0.00">
                  <c:v>5.81</c:v>
                </c:pt>
                <c:pt idx="1362" formatCode="#,##0.00">
                  <c:v>5.85</c:v>
                </c:pt>
                <c:pt idx="1363" formatCode="#,##0.00">
                  <c:v>5.95</c:v>
                </c:pt>
                <c:pt idx="1364" formatCode="#,##0.00">
                  <c:v>6</c:v>
                </c:pt>
                <c:pt idx="1365" formatCode="#,##0.00">
                  <c:v>6</c:v>
                </c:pt>
                <c:pt idx="1366" formatCode="#,##0.00">
                  <c:v>6</c:v>
                </c:pt>
                <c:pt idx="1367" formatCode="#,##0.00">
                  <c:v>5.96</c:v>
                </c:pt>
                <c:pt idx="1368" formatCode="#,##0.00">
                  <c:v>6.07</c:v>
                </c:pt>
                <c:pt idx="1369" formatCode="#,##0.00">
                  <c:v>6.06</c:v>
                </c:pt>
                <c:pt idx="1370" formatCode="#,##0.00">
                  <c:v>6.07</c:v>
                </c:pt>
                <c:pt idx="1371" formatCode="#,##0.00">
                  <c:v>6.08</c:v>
                </c:pt>
                <c:pt idx="1372" formatCode="#,##0.00">
                  <c:v>6.06</c:v>
                </c:pt>
                <c:pt idx="1373" formatCode="#,##0.00">
                  <c:v>6.05</c:v>
                </c:pt>
                <c:pt idx="1374" formatCode="#,##0.00">
                  <c:v>6.07</c:v>
                </c:pt>
                <c:pt idx="1375" formatCode="#,##0.00">
                  <c:v>6.06</c:v>
                </c:pt>
                <c:pt idx="1376" formatCode="#,##0.00">
                  <c:v>6.03</c:v>
                </c:pt>
                <c:pt idx="1377" formatCode="#,##0.00">
                  <c:v>6.01</c:v>
                </c:pt>
                <c:pt idx="1378" formatCode="#,##0.00">
                  <c:v>6.02</c:v>
                </c:pt>
                <c:pt idx="1379" formatCode="#,##0.00">
                  <c:v>6.05</c:v>
                </c:pt>
                <c:pt idx="1380" formatCode="#,##0.00">
                  <c:v>6.05</c:v>
                </c:pt>
                <c:pt idx="1381" formatCode="#,##0.00">
                  <c:v>6.06</c:v>
                </c:pt>
                <c:pt idx="1382" formatCode="#,##0.00">
                  <c:v>6.06</c:v>
                </c:pt>
                <c:pt idx="1383" formatCode="#,##0.00">
                  <c:v>6.09</c:v>
                </c:pt>
                <c:pt idx="1384" formatCode="#,##0.00">
                  <c:v>6.14</c:v>
                </c:pt>
                <c:pt idx="1385" formatCode="#,##0.00">
                  <c:v>6.15</c:v>
                </c:pt>
                <c:pt idx="1386" formatCode="#,##0.00">
                  <c:v>6.22</c:v>
                </c:pt>
                <c:pt idx="1387" formatCode="#,##0.00">
                  <c:v>6.24</c:v>
                </c:pt>
                <c:pt idx="1388" formatCode="#,##0.00">
                  <c:v>6.29</c:v>
                </c:pt>
                <c:pt idx="1389" formatCode="#,##0.00">
                  <c:v>6.3</c:v>
                </c:pt>
                <c:pt idx="1390" formatCode="#,##0.00">
                  <c:v>6.26</c:v>
                </c:pt>
                <c:pt idx="1391" formatCode="#,##0.00">
                  <c:v>6.24</c:v>
                </c:pt>
                <c:pt idx="1392" formatCode="#,##0.00">
                  <c:v>6.23</c:v>
                </c:pt>
                <c:pt idx="1393" formatCode="#,##0.00">
                  <c:v>6.22</c:v>
                </c:pt>
                <c:pt idx="1394" formatCode="#,##0.00">
                  <c:v>6.2</c:v>
                </c:pt>
                <c:pt idx="1395" formatCode="#,##0.00">
                  <c:v>6.18</c:v>
                </c:pt>
                <c:pt idx="1396" formatCode="#,##0.00">
                  <c:v>6.16</c:v>
                </c:pt>
                <c:pt idx="1397" formatCode="#,##0.00">
                  <c:v>6.26</c:v>
                </c:pt>
                <c:pt idx="1398" formatCode="#,##0.00">
                  <c:v>6.27</c:v>
                </c:pt>
                <c:pt idx="1399" formatCode="#,##0.00">
                  <c:v>6.28</c:v>
                </c:pt>
                <c:pt idx="1400" formatCode="#,##0.00">
                  <c:v>6.27</c:v>
                </c:pt>
                <c:pt idx="1401" formatCode="#,##0.00">
                  <c:v>6.25</c:v>
                </c:pt>
                <c:pt idx="1402" formatCode="#,##0.00">
                  <c:v>6.22</c:v>
                </c:pt>
                <c:pt idx="1403" formatCode="#,##0.00">
                  <c:v>6.32</c:v>
                </c:pt>
                <c:pt idx="1404" formatCode="#,##0.00">
                  <c:v>6.36</c:v>
                </c:pt>
                <c:pt idx="1405" formatCode="#,##0.00">
                  <c:v>6.45</c:v>
                </c:pt>
                <c:pt idx="1406" formatCode="#,##0.00">
                  <c:v>6.37</c:v>
                </c:pt>
                <c:pt idx="1407" formatCode="#,##0.00">
                  <c:v>6.28</c:v>
                </c:pt>
                <c:pt idx="1408" formatCode="#,##0.00">
                  <c:v>6.3</c:v>
                </c:pt>
                <c:pt idx="1409" formatCode="#,##0.00">
                  <c:v>6.27</c:v>
                </c:pt>
                <c:pt idx="1410" formatCode="#,##0.00">
                  <c:v>6.24</c:v>
                </c:pt>
                <c:pt idx="1411" formatCode="#,##0.00">
                  <c:v>6.27</c:v>
                </c:pt>
                <c:pt idx="1412" formatCode="#,##0.00">
                  <c:v>6.28</c:v>
                </c:pt>
                <c:pt idx="1413" formatCode="#,##0.00">
                  <c:v>6.26</c:v>
                </c:pt>
                <c:pt idx="1414" formatCode="#,##0.00">
                  <c:v>6.26</c:v>
                </c:pt>
                <c:pt idx="1415" formatCode="#,##0.00">
                  <c:v>6.25</c:v>
                </c:pt>
                <c:pt idx="1416" formatCode="#,##0.00">
                  <c:v>6.28</c:v>
                </c:pt>
                <c:pt idx="1417" formatCode="#,##0.00">
                  <c:v>6.34</c:v>
                </c:pt>
                <c:pt idx="1418" formatCode="#,##0.00">
                  <c:v>6.44</c:v>
                </c:pt>
                <c:pt idx="1419" formatCode="#,##0.00">
                  <c:v>6.47</c:v>
                </c:pt>
                <c:pt idx="1420" formatCode="#,##0.00">
                  <c:v>6.41</c:v>
                </c:pt>
                <c:pt idx="1421" formatCode="#,##0.00">
                  <c:v>6.33</c:v>
                </c:pt>
                <c:pt idx="1422" formatCode="#,##0.00">
                  <c:v>6.3</c:v>
                </c:pt>
                <c:pt idx="1423" formatCode="#,##0.00">
                  <c:v>6.31</c:v>
                </c:pt>
                <c:pt idx="1424" formatCode="#,##0.00">
                  <c:v>6.3</c:v>
                </c:pt>
                <c:pt idx="1425" formatCode="#,##0.00">
                  <c:v>6.3</c:v>
                </c:pt>
                <c:pt idx="1426" formatCode="#,##0.00">
                  <c:v>6.28</c:v>
                </c:pt>
                <c:pt idx="1427" formatCode="#,##0.00">
                  <c:v>6.27</c:v>
                </c:pt>
                <c:pt idx="1428" formatCode="#,##0.00">
                  <c:v>6.26</c:v>
                </c:pt>
                <c:pt idx="1429" formatCode="#,##0.00">
                  <c:v>6.25</c:v>
                </c:pt>
                <c:pt idx="1430" formatCode="#,##0.00">
                  <c:v>6.26</c:v>
                </c:pt>
                <c:pt idx="1431" formatCode="#,##0.00">
                  <c:v>6.25</c:v>
                </c:pt>
                <c:pt idx="1432" formatCode="#,##0.00">
                  <c:v>6.27</c:v>
                </c:pt>
                <c:pt idx="1433" formatCode="0.00">
                  <c:v>6.27</c:v>
                </c:pt>
                <c:pt idx="1434" formatCode="0.00">
                  <c:v>6.28</c:v>
                </c:pt>
                <c:pt idx="1435" formatCode="0.00">
                  <c:v>6.23</c:v>
                </c:pt>
                <c:pt idx="1436" formatCode="0.00">
                  <c:v>6.2</c:v>
                </c:pt>
                <c:pt idx="1437" formatCode="0.00">
                  <c:v>6.2</c:v>
                </c:pt>
                <c:pt idx="1438" formatCode="0.00">
                  <c:v>6.17</c:v>
                </c:pt>
                <c:pt idx="1439" formatCode="0.00">
                  <c:v>6.17</c:v>
                </c:pt>
                <c:pt idx="1440" formatCode="0.00">
                  <c:v>6.17</c:v>
                </c:pt>
                <c:pt idx="1441" formatCode="0.00">
                  <c:v>6.15</c:v>
                </c:pt>
                <c:pt idx="1442" formatCode="0.00">
                  <c:v>6.15</c:v>
                </c:pt>
                <c:pt idx="1443" formatCode="0.00">
                  <c:v>6.13</c:v>
                </c:pt>
                <c:pt idx="1444" formatCode="0.00">
                  <c:v>6.08</c:v>
                </c:pt>
                <c:pt idx="1445" formatCode="0.00">
                  <c:v>6.1</c:v>
                </c:pt>
                <c:pt idx="1446" formatCode="0.00">
                  <c:v>6.1</c:v>
                </c:pt>
                <c:pt idx="1447" formatCode="0.00">
                  <c:v>6.1</c:v>
                </c:pt>
                <c:pt idx="1448" formatCode="0.00">
                  <c:v>6.1</c:v>
                </c:pt>
                <c:pt idx="1449" formatCode="0.00">
                  <c:v>6.1</c:v>
                </c:pt>
                <c:pt idx="1450" formatCode="0.00">
                  <c:v>6.1</c:v>
                </c:pt>
                <c:pt idx="1451" formatCode="0.00">
                  <c:v>6.1</c:v>
                </c:pt>
                <c:pt idx="1452" formatCode="0.00">
                  <c:v>6.15</c:v>
                </c:pt>
                <c:pt idx="1453" formatCode="0.00">
                  <c:v>6.15</c:v>
                </c:pt>
                <c:pt idx="1454" formatCode="0.00">
                  <c:v>6.16</c:v>
                </c:pt>
                <c:pt idx="1455" formatCode="0.00">
                  <c:v>6.16</c:v>
                </c:pt>
                <c:pt idx="1456" formatCode="0.00">
                  <c:v>6.15</c:v>
                </c:pt>
                <c:pt idx="1457" formatCode="0.00">
                  <c:v>6.15</c:v>
                </c:pt>
                <c:pt idx="1458" formatCode="0.00">
                  <c:v>6.13</c:v>
                </c:pt>
                <c:pt idx="1459" formatCode="0.00">
                  <c:v>6.12</c:v>
                </c:pt>
                <c:pt idx="1460" formatCode="0.00">
                  <c:v>6.1</c:v>
                </c:pt>
                <c:pt idx="1461" formatCode="0.00">
                  <c:v>6.09</c:v>
                </c:pt>
                <c:pt idx="1462" formatCode="0.00">
                  <c:v>6.08</c:v>
                </c:pt>
                <c:pt idx="1463" formatCode="0.00">
                  <c:v>6.07</c:v>
                </c:pt>
                <c:pt idx="1464" formatCode="0.00">
                  <c:v>6.08</c:v>
                </c:pt>
                <c:pt idx="1465" formatCode="0.00">
                  <c:v>6.08</c:v>
                </c:pt>
                <c:pt idx="1466" formatCode="0.00">
                  <c:v>6.08</c:v>
                </c:pt>
                <c:pt idx="1467" formatCode="0.00">
                  <c:v>6.09</c:v>
                </c:pt>
                <c:pt idx="1468" formatCode="0.00">
                  <c:v>6.1</c:v>
                </c:pt>
                <c:pt idx="1469" formatCode="0.00">
                  <c:v>6.11</c:v>
                </c:pt>
                <c:pt idx="1470" formatCode="0.00">
                  <c:v>6.15</c:v>
                </c:pt>
                <c:pt idx="1471" formatCode="0.00">
                  <c:v>6.15</c:v>
                </c:pt>
                <c:pt idx="1472" formatCode="0.00">
                  <c:v>6.14</c:v>
                </c:pt>
                <c:pt idx="1473" formatCode="0.00">
                  <c:v>6.15</c:v>
                </c:pt>
                <c:pt idx="1474" formatCode="0.00">
                  <c:v>6.12</c:v>
                </c:pt>
                <c:pt idx="1475" formatCode="0.00">
                  <c:v>6.13</c:v>
                </c:pt>
                <c:pt idx="1476" formatCode="0.00">
                  <c:v>6.14</c:v>
                </c:pt>
                <c:pt idx="1477" formatCode="0.00">
                  <c:v>6.16</c:v>
                </c:pt>
                <c:pt idx="1478" formatCode="0.00">
                  <c:v>6.18</c:v>
                </c:pt>
                <c:pt idx="1479" formatCode="0.00">
                  <c:v>6.21</c:v>
                </c:pt>
                <c:pt idx="1480" formatCode="0.00">
                  <c:v>6.22</c:v>
                </c:pt>
                <c:pt idx="1481" formatCode="0.00">
                  <c:v>6.29</c:v>
                </c:pt>
                <c:pt idx="1482" formatCode="0.00">
                  <c:v>6.34</c:v>
                </c:pt>
                <c:pt idx="1483" formatCode="0.00">
                  <c:v>6.35</c:v>
                </c:pt>
                <c:pt idx="1484" formatCode="0.00">
                  <c:v>6.63</c:v>
                </c:pt>
                <c:pt idx="1485" formatCode="0.00">
                  <c:v>6.58</c:v>
                </c:pt>
                <c:pt idx="1486" formatCode="0.00">
                  <c:v>6.46</c:v>
                </c:pt>
                <c:pt idx="1487" formatCode="0.00">
                  <c:v>6.46</c:v>
                </c:pt>
                <c:pt idx="1488" formatCode="0.00">
                  <c:v>6.43</c:v>
                </c:pt>
                <c:pt idx="1489" formatCode="0.00">
                  <c:v>6.41</c:v>
                </c:pt>
                <c:pt idx="1490" formatCode="0.00">
                  <c:v>6.35</c:v>
                </c:pt>
                <c:pt idx="1491" formatCode="0.00">
                  <c:v>6.33</c:v>
                </c:pt>
                <c:pt idx="1492" formatCode="0.00">
                  <c:v>6.33</c:v>
                </c:pt>
                <c:pt idx="1493" formatCode="0.00">
                  <c:v>6.35</c:v>
                </c:pt>
                <c:pt idx="1494" formatCode="0.00">
                  <c:v>6.43</c:v>
                </c:pt>
                <c:pt idx="1495" formatCode="0.00">
                  <c:v>6.37</c:v>
                </c:pt>
                <c:pt idx="1496" formatCode="0.00">
                  <c:v>6.32</c:v>
                </c:pt>
                <c:pt idx="1497" formatCode="0.00">
                  <c:v>6.27</c:v>
                </c:pt>
                <c:pt idx="1498" formatCode="0.00">
                  <c:v>6.27</c:v>
                </c:pt>
                <c:pt idx="1499" formatCode="0.00">
                  <c:v>6.27</c:v>
                </c:pt>
                <c:pt idx="1500" formatCode="0.00">
                  <c:v>6.31</c:v>
                </c:pt>
                <c:pt idx="1501" formatCode="0.00">
                  <c:v>6.3</c:v>
                </c:pt>
                <c:pt idx="1502" formatCode="0.00">
                  <c:v>6.3</c:v>
                </c:pt>
                <c:pt idx="1503" formatCode="0.00">
                  <c:v>6.29</c:v>
                </c:pt>
                <c:pt idx="1504" formatCode="0.00">
                  <c:v>6.27</c:v>
                </c:pt>
                <c:pt idx="1505" formatCode="0.00">
                  <c:v>6.28</c:v>
                </c:pt>
                <c:pt idx="1506" formatCode="0.00">
                  <c:v>6.28</c:v>
                </c:pt>
                <c:pt idx="1507" formatCode="0.00">
                  <c:v>6.3</c:v>
                </c:pt>
                <c:pt idx="1508" formatCode="0.00">
                  <c:v>6.28</c:v>
                </c:pt>
                <c:pt idx="1509" formatCode="0.00">
                  <c:v>6.29</c:v>
                </c:pt>
                <c:pt idx="1510" formatCode="0.00">
                  <c:v>6.28</c:v>
                </c:pt>
                <c:pt idx="1511" formatCode="0.00">
                  <c:v>6.26</c:v>
                </c:pt>
                <c:pt idx="1512" formatCode="0.00">
                  <c:v>6.23</c:v>
                </c:pt>
                <c:pt idx="1513" formatCode="0.00">
                  <c:v>6.21</c:v>
                </c:pt>
                <c:pt idx="1514" formatCode="0.00">
                  <c:v>6.21</c:v>
                </c:pt>
                <c:pt idx="1515" formatCode="0.00">
                  <c:v>6.19</c:v>
                </c:pt>
                <c:pt idx="1516" formatCode="0.00">
                  <c:v>6.2</c:v>
                </c:pt>
                <c:pt idx="1517" formatCode="0.00">
                  <c:v>6.18</c:v>
                </c:pt>
                <c:pt idx="1518" formatCode="0.00">
                  <c:v>6.14</c:v>
                </c:pt>
                <c:pt idx="1519" formatCode="0.00">
                  <c:v>6.15</c:v>
                </c:pt>
                <c:pt idx="1520" formatCode="0.00">
                  <c:v>6.12</c:v>
                </c:pt>
                <c:pt idx="1521" formatCode="0.00">
                  <c:v>6.13</c:v>
                </c:pt>
                <c:pt idx="1522" formatCode="0.00">
                  <c:v>6.13</c:v>
                </c:pt>
                <c:pt idx="1523" formatCode="0.00">
                  <c:v>6.14</c:v>
                </c:pt>
                <c:pt idx="1524" formatCode="0.00">
                  <c:v>6.15</c:v>
                </c:pt>
                <c:pt idx="1525" formatCode="0.00">
                  <c:v>6.22</c:v>
                </c:pt>
                <c:pt idx="1526" formatCode="0.00">
                  <c:v>6.2</c:v>
                </c:pt>
                <c:pt idx="1527" formatCode="0.00">
                  <c:v>6.18</c:v>
                </c:pt>
                <c:pt idx="1528" formatCode="0.00">
                  <c:v>6.19</c:v>
                </c:pt>
                <c:pt idx="1529" formatCode="0.00">
                  <c:v>6.16</c:v>
                </c:pt>
                <c:pt idx="1530" formatCode="0.00">
                  <c:v>6.16</c:v>
                </c:pt>
                <c:pt idx="1531" formatCode="0.00">
                  <c:v>6.13</c:v>
                </c:pt>
                <c:pt idx="1532" formatCode="0.00">
                  <c:v>6.12</c:v>
                </c:pt>
                <c:pt idx="1533" formatCode="0.00">
                  <c:v>6.13</c:v>
                </c:pt>
                <c:pt idx="1534" formatCode="0.00">
                  <c:v>6.11</c:v>
                </c:pt>
                <c:pt idx="1535" formatCode="0.00">
                  <c:v>6.11</c:v>
                </c:pt>
                <c:pt idx="1536" formatCode="0.00">
                  <c:v>6.12</c:v>
                </c:pt>
                <c:pt idx="1537" formatCode="0.00">
                  <c:v>6.12</c:v>
                </c:pt>
                <c:pt idx="1538" formatCode="0.00">
                  <c:v>6.13</c:v>
                </c:pt>
                <c:pt idx="1539" formatCode="0.00">
                  <c:v>6.13</c:v>
                </c:pt>
                <c:pt idx="1540" formatCode="0.00">
                  <c:v>6.12</c:v>
                </c:pt>
                <c:pt idx="1541" formatCode="0.00">
                  <c:v>6.11</c:v>
                </c:pt>
                <c:pt idx="1542" formatCode="0.00">
                  <c:v>6.1</c:v>
                </c:pt>
                <c:pt idx="1543" formatCode="0.00">
                  <c:v>6.15</c:v>
                </c:pt>
                <c:pt idx="1544" formatCode="0.00">
                  <c:v>6.22</c:v>
                </c:pt>
                <c:pt idx="1545" formatCode="0.00">
                  <c:v>6.44</c:v>
                </c:pt>
                <c:pt idx="1546" formatCode="0.00">
                  <c:v>6.41</c:v>
                </c:pt>
                <c:pt idx="1547" formatCode="0.00">
                  <c:v>6.4</c:v>
                </c:pt>
                <c:pt idx="1548" formatCode="0.00">
                  <c:v>6.6</c:v>
                </c:pt>
                <c:pt idx="1549" formatCode="0.00">
                  <c:v>6.65</c:v>
                </c:pt>
                <c:pt idx="1550" formatCode="0.00">
                  <c:v>6.64</c:v>
                </c:pt>
                <c:pt idx="1551" formatCode="0.00">
                  <c:v>6.66</c:v>
                </c:pt>
                <c:pt idx="1552" formatCode="0.00">
                  <c:v>6.65</c:v>
                </c:pt>
                <c:pt idx="1553" formatCode="0.00">
                  <c:v>6.67</c:v>
                </c:pt>
                <c:pt idx="1554" formatCode="0.00">
                  <c:v>6.71</c:v>
                </c:pt>
                <c:pt idx="1555" formatCode="0.00">
                  <c:v>6.74</c:v>
                </c:pt>
                <c:pt idx="1556" formatCode="0.00">
                  <c:v>6.75</c:v>
                </c:pt>
                <c:pt idx="1557" formatCode="0.00">
                  <c:v>6.79</c:v>
                </c:pt>
                <c:pt idx="1558" formatCode="0.00">
                  <c:v>6.96</c:v>
                </c:pt>
                <c:pt idx="1559" formatCode="0.00">
                  <c:v>7.03</c:v>
                </c:pt>
                <c:pt idx="1560" formatCode="0.00">
                  <c:v>6.97</c:v>
                </c:pt>
                <c:pt idx="1561" formatCode="0.00">
                  <c:v>6.96</c:v>
                </c:pt>
                <c:pt idx="1562" formatCode="0.00">
                  <c:v>6.98</c:v>
                </c:pt>
                <c:pt idx="1563" formatCode="0.00">
                  <c:v>6.93</c:v>
                </c:pt>
                <c:pt idx="1564" formatCode="0.00">
                  <c:v>6.93</c:v>
                </c:pt>
                <c:pt idx="1565" formatCode="0.00">
                  <c:v>6.8</c:v>
                </c:pt>
                <c:pt idx="1566" formatCode="0.00">
                  <c:v>6.76</c:v>
                </c:pt>
                <c:pt idx="1567" formatCode="0.00">
                  <c:v>6.77</c:v>
                </c:pt>
                <c:pt idx="1568" formatCode="0.00">
                  <c:v>6.93</c:v>
                </c:pt>
                <c:pt idx="1569" formatCode="0.00">
                  <c:v>6.86</c:v>
                </c:pt>
                <c:pt idx="1570" formatCode="0.00">
                  <c:v>6.82</c:v>
                </c:pt>
                <c:pt idx="1571" formatCode="0.00">
                  <c:v>6.8</c:v>
                </c:pt>
                <c:pt idx="1572" formatCode="0.00">
                  <c:v>6.77</c:v>
                </c:pt>
                <c:pt idx="1573" formatCode="0.00">
                  <c:v>6.76</c:v>
                </c:pt>
                <c:pt idx="1574" formatCode="0.00">
                  <c:v>6.77</c:v>
                </c:pt>
                <c:pt idx="1575" formatCode="0.00">
                  <c:v>6.93</c:v>
                </c:pt>
                <c:pt idx="1576" formatCode="0.00">
                  <c:v>6.95</c:v>
                </c:pt>
                <c:pt idx="1577" formatCode="0.00">
                  <c:v>6.97</c:v>
                </c:pt>
                <c:pt idx="1578" formatCode="0.00">
                  <c:v>6.97</c:v>
                </c:pt>
                <c:pt idx="1579" formatCode="0.00">
                  <c:v>6.98</c:v>
                </c:pt>
                <c:pt idx="1580" formatCode="0.00">
                  <c:v>7</c:v>
                </c:pt>
                <c:pt idx="1581" formatCode="0.00">
                  <c:v>7.04</c:v>
                </c:pt>
                <c:pt idx="1582" formatCode="0.00">
                  <c:v>7.1</c:v>
                </c:pt>
                <c:pt idx="1583" formatCode="0.00">
                  <c:v>7.14</c:v>
                </c:pt>
                <c:pt idx="1584" formatCode="0.00">
                  <c:v>7.15</c:v>
                </c:pt>
                <c:pt idx="1585" formatCode="0.00">
                  <c:v>7.16</c:v>
                </c:pt>
                <c:pt idx="1586" formatCode="0.00">
                  <c:v>7.16</c:v>
                </c:pt>
                <c:pt idx="1587" formatCode="0.00">
                  <c:v>7.15</c:v>
                </c:pt>
                <c:pt idx="1588" formatCode="0.00">
                  <c:v>7.15</c:v>
                </c:pt>
                <c:pt idx="1589" formatCode="0.00">
                  <c:v>7.19</c:v>
                </c:pt>
                <c:pt idx="1590" formatCode="0.00">
                  <c:v>7.28</c:v>
                </c:pt>
                <c:pt idx="1591" formatCode="0.00">
                  <c:v>7.27</c:v>
                </c:pt>
                <c:pt idx="1592" formatCode="0.00">
                  <c:v>7.25</c:v>
                </c:pt>
                <c:pt idx="1593" formatCode="0.00">
                  <c:v>7.34</c:v>
                </c:pt>
                <c:pt idx="1594" formatCode="0.00">
                  <c:v>7.36</c:v>
                </c:pt>
                <c:pt idx="1595" formatCode="0.00">
                  <c:v>7.38</c:v>
                </c:pt>
                <c:pt idx="1596" formatCode="0.00">
                  <c:v>7.36</c:v>
                </c:pt>
                <c:pt idx="1597" formatCode="0.00">
                  <c:v>7.45</c:v>
                </c:pt>
                <c:pt idx="1598" formatCode="0.00">
                  <c:v>7.51</c:v>
                </c:pt>
                <c:pt idx="1599" formatCode="0.00">
                  <c:v>7.54</c:v>
                </c:pt>
                <c:pt idx="1600" formatCode="0.00">
                  <c:v>7.6</c:v>
                </c:pt>
                <c:pt idx="1601" formatCode="0.00">
                  <c:v>7.63</c:v>
                </c:pt>
                <c:pt idx="1602" formatCode="0.00">
                  <c:v>7.63</c:v>
                </c:pt>
                <c:pt idx="1603" formatCode="0.00">
                  <c:v>7.65</c:v>
                </c:pt>
                <c:pt idx="1604" formatCode="0.00">
                  <c:v>7.66</c:v>
                </c:pt>
                <c:pt idx="1605" formatCode="0.00">
                  <c:v>7.69</c:v>
                </c:pt>
                <c:pt idx="1606" formatCode="0.00">
                  <c:v>7.68</c:v>
                </c:pt>
                <c:pt idx="1607" formatCode="0.00">
                  <c:v>7.71</c:v>
                </c:pt>
                <c:pt idx="1608" formatCode="0.00">
                  <c:v>7.72</c:v>
                </c:pt>
                <c:pt idx="1609" formatCode="0.00">
                  <c:v>7.71</c:v>
                </c:pt>
                <c:pt idx="1610" formatCode="0.00">
                  <c:v>7.71</c:v>
                </c:pt>
                <c:pt idx="1611" formatCode="0.00">
                  <c:v>7.71</c:v>
                </c:pt>
                <c:pt idx="1612" formatCode="0.00">
                  <c:v>7.7</c:v>
                </c:pt>
                <c:pt idx="1613" formatCode="0.00">
                  <c:v>7.7</c:v>
                </c:pt>
                <c:pt idx="1614" formatCode="0.00">
                  <c:v>7.71</c:v>
                </c:pt>
                <c:pt idx="1615" formatCode="0.00">
                  <c:v>7.78</c:v>
                </c:pt>
                <c:pt idx="1616" formatCode="0.00">
                  <c:v>7.8</c:v>
                </c:pt>
                <c:pt idx="1617" formatCode="0.00">
                  <c:v>7.88</c:v>
                </c:pt>
                <c:pt idx="1618" formatCode="0.00">
                  <c:v>7.94</c:v>
                </c:pt>
                <c:pt idx="1619" formatCode="0.00">
                  <c:v>7.99</c:v>
                </c:pt>
                <c:pt idx="1620" formatCode="0.00">
                  <c:v>8</c:v>
                </c:pt>
                <c:pt idx="1621" formatCode="0.00">
                  <c:v>7.99</c:v>
                </c:pt>
                <c:pt idx="1622" formatCode="0.00">
                  <c:v>8.02</c:v>
                </c:pt>
                <c:pt idx="1623" formatCode="0.00">
                  <c:v>8.0299999999999994</c:v>
                </c:pt>
                <c:pt idx="1624" formatCode="0.00">
                  <c:v>8.0500000000000007</c:v>
                </c:pt>
                <c:pt idx="1625" formatCode="0.00">
                  <c:v>8.1300000000000008</c:v>
                </c:pt>
                <c:pt idx="1626" formatCode="0.00">
                  <c:v>8.23</c:v>
                </c:pt>
                <c:pt idx="1627" formatCode="0.00">
                  <c:v>8.3000000000000007</c:v>
                </c:pt>
                <c:pt idx="1628" formatCode="0.00">
                  <c:v>8.34</c:v>
                </c:pt>
                <c:pt idx="1629" formatCode="0.00">
                  <c:v>8.33</c:v>
                </c:pt>
                <c:pt idx="1630" formatCode="0.00">
                  <c:v>8.32</c:v>
                </c:pt>
                <c:pt idx="1631" formatCode="0.00">
                  <c:v>8.2899999999999991</c:v>
                </c:pt>
                <c:pt idx="1632" formatCode="0.00">
                  <c:v>8.2899999999999991</c:v>
                </c:pt>
                <c:pt idx="1633" formatCode="0.00">
                  <c:v>8.27</c:v>
                </c:pt>
                <c:pt idx="1634" formatCode="0.00">
                  <c:v>8.25</c:v>
                </c:pt>
                <c:pt idx="1635" formatCode="0.00">
                  <c:v>8.25</c:v>
                </c:pt>
                <c:pt idx="1636" formatCode="0.00">
                  <c:v>8.25</c:v>
                </c:pt>
                <c:pt idx="1637" formatCode="0.00">
                  <c:v>8.25</c:v>
                </c:pt>
                <c:pt idx="1638" formatCode="0.00">
                  <c:v>8.23</c:v>
                </c:pt>
                <c:pt idx="1639" formatCode="0.00">
                  <c:v>8.24</c:v>
                </c:pt>
                <c:pt idx="1640" formatCode="0.00">
                  <c:v>8.17</c:v>
                </c:pt>
                <c:pt idx="1641" formatCode="0.00">
                  <c:v>8.16</c:v>
                </c:pt>
                <c:pt idx="1642" formatCode="0.00">
                  <c:v>8.17</c:v>
                </c:pt>
                <c:pt idx="1643" formatCode="0.00">
                  <c:v>8.19</c:v>
                </c:pt>
                <c:pt idx="1644" formatCode="0.00">
                  <c:v>8.2100000000000009</c:v>
                </c:pt>
                <c:pt idx="1645" formatCode="0.00">
                  <c:v>8.18</c:v>
                </c:pt>
                <c:pt idx="1646" formatCode="0.00">
                  <c:v>8.19</c:v>
                </c:pt>
                <c:pt idx="1647" formatCode="0.00">
                  <c:v>8.1999999999999993</c:v>
                </c:pt>
                <c:pt idx="1648" formatCode="0.00">
                  <c:v>8.1999999999999993</c:v>
                </c:pt>
                <c:pt idx="1649" formatCode="0.00">
                  <c:v>8.1999999999999993</c:v>
                </c:pt>
                <c:pt idx="1650" formatCode="0.00">
                  <c:v>8.1999999999999993</c:v>
                </c:pt>
                <c:pt idx="1651" formatCode="0.00">
                  <c:v>8.1999999999999993</c:v>
                </c:pt>
                <c:pt idx="1652" formatCode="0.00">
                  <c:v>8.1999999999999993</c:v>
                </c:pt>
                <c:pt idx="1653" formatCode="0.00">
                  <c:v>8.1999999999999993</c:v>
                </c:pt>
                <c:pt idx="1654" formatCode="0.00">
                  <c:v>8.1999999999999993</c:v>
                </c:pt>
                <c:pt idx="1655" formatCode="0.00">
                  <c:v>8.1999999999999993</c:v>
                </c:pt>
                <c:pt idx="1656" formatCode="0.00">
                  <c:v>8.23</c:v>
                </c:pt>
                <c:pt idx="1657" formatCode="0.00">
                  <c:v>8.25</c:v>
                </c:pt>
                <c:pt idx="1658" formatCode="0.00">
                  <c:v>8.17</c:v>
                </c:pt>
                <c:pt idx="1659" formatCode="0.00">
                  <c:v>8.14</c:v>
                </c:pt>
                <c:pt idx="1660" formatCode="0.00">
                  <c:v>8.1300000000000008</c:v>
                </c:pt>
                <c:pt idx="1661" formatCode="0.00">
                  <c:v>8.1199999999999992</c:v>
                </c:pt>
                <c:pt idx="1662" formatCode="0.00">
                  <c:v>8.16</c:v>
                </c:pt>
                <c:pt idx="1663" formatCode="0.00">
                  <c:v>8.17</c:v>
                </c:pt>
                <c:pt idx="1664" formatCode="0.00">
                  <c:v>8.16</c:v>
                </c:pt>
                <c:pt idx="1665" formatCode="0.00">
                  <c:v>8.15</c:v>
                </c:pt>
                <c:pt idx="1666" formatCode="0.00">
                  <c:v>8.15</c:v>
                </c:pt>
                <c:pt idx="1667" formatCode="0.00">
                  <c:v>8.15</c:v>
                </c:pt>
                <c:pt idx="1668" formatCode="0.00">
                  <c:v>8.15</c:v>
                </c:pt>
                <c:pt idx="1669" formatCode="0.00">
                  <c:v>8.15</c:v>
                </c:pt>
                <c:pt idx="1670" formatCode="0.00">
                  <c:v>8.15</c:v>
                </c:pt>
                <c:pt idx="1671" formatCode="0.00">
                  <c:v>8.1300000000000008</c:v>
                </c:pt>
                <c:pt idx="1672" formatCode="0.00">
                  <c:v>8.1300000000000008</c:v>
                </c:pt>
                <c:pt idx="1673" formatCode="0.00">
                  <c:v>8.1199999999999992</c:v>
                </c:pt>
                <c:pt idx="1674" formatCode="0.00">
                  <c:v>8.11</c:v>
                </c:pt>
                <c:pt idx="1675" formatCode="0.00">
                  <c:v>8.1</c:v>
                </c:pt>
                <c:pt idx="1676" formatCode="0.00">
                  <c:v>8.09</c:v>
                </c:pt>
                <c:pt idx="1677" formatCode="0.00">
                  <c:v>8.09</c:v>
                </c:pt>
                <c:pt idx="1678" formatCode="0.00">
                  <c:v>8.09</c:v>
                </c:pt>
                <c:pt idx="1679" formatCode="0.00">
                  <c:v>8.08</c:v>
                </c:pt>
                <c:pt idx="1680" formatCode="0.00">
                  <c:v>8.07</c:v>
                </c:pt>
                <c:pt idx="1681" formatCode="0.00">
                  <c:v>8.0500000000000007</c:v>
                </c:pt>
                <c:pt idx="1682" formatCode="0.00">
                  <c:v>8.0500000000000007</c:v>
                </c:pt>
                <c:pt idx="1683" formatCode="0.00">
                  <c:v>8.0500000000000007</c:v>
                </c:pt>
                <c:pt idx="1684" formatCode="0.00">
                  <c:v>8.0500000000000007</c:v>
                </c:pt>
                <c:pt idx="1685" formatCode="0.00">
                  <c:v>8.0500000000000007</c:v>
                </c:pt>
                <c:pt idx="1686" formatCode="0.00">
                  <c:v>8.0299999999999994</c:v>
                </c:pt>
                <c:pt idx="1687" formatCode="0.00">
                  <c:v>8.01</c:v>
                </c:pt>
                <c:pt idx="1688" formatCode="0.00">
                  <c:v>8.01</c:v>
                </c:pt>
                <c:pt idx="1689" formatCode="0.00">
                  <c:v>8</c:v>
                </c:pt>
                <c:pt idx="1690" formatCode="0.00">
                  <c:v>8</c:v>
                </c:pt>
                <c:pt idx="1691" formatCode="0.00">
                  <c:v>8.0299999999999994</c:v>
                </c:pt>
                <c:pt idx="1692" formatCode="0.00">
                  <c:v>8.0500000000000007</c:v>
                </c:pt>
                <c:pt idx="1693" formatCode="0.00">
                  <c:v>8.0500000000000007</c:v>
                </c:pt>
                <c:pt idx="1694" formatCode="0.00">
                  <c:v>8.0500000000000007</c:v>
                </c:pt>
                <c:pt idx="1695" formatCode="0.00">
                  <c:v>8.0500000000000007</c:v>
                </c:pt>
                <c:pt idx="1696" formatCode="0.00">
                  <c:v>8.0500000000000007</c:v>
                </c:pt>
                <c:pt idx="1697" formatCode="0.00">
                  <c:v>8.0500000000000007</c:v>
                </c:pt>
                <c:pt idx="1698" formatCode="0.00">
                  <c:v>8.0399999999999991</c:v>
                </c:pt>
                <c:pt idx="1699" formatCode="0.00">
                  <c:v>8.0500000000000007</c:v>
                </c:pt>
                <c:pt idx="1700" formatCode="0.00">
                  <c:v>8.1</c:v>
                </c:pt>
                <c:pt idx="1701" formatCode="0.00">
                  <c:v>8.14</c:v>
                </c:pt>
                <c:pt idx="1702" formatCode="0.00">
                  <c:v>8.14</c:v>
                </c:pt>
                <c:pt idx="1703" formatCode="0.00">
                  <c:v>8.19</c:v>
                </c:pt>
                <c:pt idx="1704" formatCode="0.00">
                  <c:v>8.1999999999999993</c:v>
                </c:pt>
                <c:pt idx="1705" formatCode="0.00">
                  <c:v>8.1999999999999993</c:v>
                </c:pt>
                <c:pt idx="1706" formatCode="0.00">
                  <c:v>8.1999999999999993</c:v>
                </c:pt>
                <c:pt idx="1707" formatCode="0.00">
                  <c:v>8.19</c:v>
                </c:pt>
                <c:pt idx="1708" formatCode="0.00">
                  <c:v>8.1999999999999993</c:v>
                </c:pt>
                <c:pt idx="1709" formatCode="0.00">
                  <c:v>8.1999999999999993</c:v>
                </c:pt>
                <c:pt idx="1710" formatCode="0.00">
                  <c:v>8.19</c:v>
                </c:pt>
                <c:pt idx="1711" formatCode="0.00">
                  <c:v>8.17</c:v>
                </c:pt>
                <c:pt idx="1712" formatCode="0.00">
                  <c:v>8.15</c:v>
                </c:pt>
                <c:pt idx="1713" formatCode="0.00">
                  <c:v>8.16</c:v>
                </c:pt>
                <c:pt idx="1714" formatCode="0.00">
                  <c:v>8.15</c:v>
                </c:pt>
                <c:pt idx="1715" formatCode="0.00">
                  <c:v>8.16</c:v>
                </c:pt>
                <c:pt idx="1716" formatCode="0.00">
                  <c:v>8.16</c:v>
                </c:pt>
                <c:pt idx="1717" formatCode="0.00">
                  <c:v>8.16</c:v>
                </c:pt>
                <c:pt idx="1718" formatCode="0.00">
                  <c:v>8.16</c:v>
                </c:pt>
                <c:pt idx="1719" formatCode="0.00">
                  <c:v>8.15</c:v>
                </c:pt>
                <c:pt idx="1720" formatCode="0.00">
                  <c:v>8.15</c:v>
                </c:pt>
                <c:pt idx="1721" formatCode="0.00">
                  <c:v>8.15</c:v>
                </c:pt>
                <c:pt idx="1722" formatCode="0.00">
                  <c:v>8.15</c:v>
                </c:pt>
                <c:pt idx="1723" formatCode="0.00">
                  <c:v>8.16</c:v>
                </c:pt>
                <c:pt idx="1724" formatCode="0.00">
                  <c:v>8.16</c:v>
                </c:pt>
                <c:pt idx="1725" formatCode="0.00">
                  <c:v>8.15</c:v>
                </c:pt>
                <c:pt idx="1726" formatCode="0.00">
                  <c:v>8.16</c:v>
                </c:pt>
                <c:pt idx="1727" formatCode="0.00">
                  <c:v>8.16</c:v>
                </c:pt>
                <c:pt idx="1728" formatCode="0.00">
                  <c:v>8.15</c:v>
                </c:pt>
                <c:pt idx="1729" formatCode="0.00">
                  <c:v>8.15</c:v>
                </c:pt>
                <c:pt idx="1730" formatCode="0.00">
                  <c:v>8.15</c:v>
                </c:pt>
                <c:pt idx="1731" formatCode="0.00">
                  <c:v>8.15</c:v>
                </c:pt>
                <c:pt idx="1732" formatCode="0.00">
                  <c:v>8.1300000000000008</c:v>
                </c:pt>
                <c:pt idx="1733" formatCode="0.00">
                  <c:v>8.1199999999999992</c:v>
                </c:pt>
                <c:pt idx="1734" formatCode="0.00">
                  <c:v>8.1199999999999992</c:v>
                </c:pt>
                <c:pt idx="1735" formatCode="0.00">
                  <c:v>8.07</c:v>
                </c:pt>
                <c:pt idx="1736" formatCode="0.00">
                  <c:v>8.07</c:v>
                </c:pt>
                <c:pt idx="1737" formatCode="0.00">
                  <c:v>8.06</c:v>
                </c:pt>
                <c:pt idx="1738" formatCode="0.00">
                  <c:v>7.97</c:v>
                </c:pt>
                <c:pt idx="1739" formatCode="0.00">
                  <c:v>7.96</c:v>
                </c:pt>
                <c:pt idx="1740" formatCode="0.00">
                  <c:v>7.95</c:v>
                </c:pt>
                <c:pt idx="1741" formatCode="0.00">
                  <c:v>7.95</c:v>
                </c:pt>
                <c:pt idx="1742" formatCode="0.00">
                  <c:v>7.93</c:v>
                </c:pt>
                <c:pt idx="1743" formatCode="0.00">
                  <c:v>7.92</c:v>
                </c:pt>
                <c:pt idx="1744" formatCode="0.00">
                  <c:v>7.92</c:v>
                </c:pt>
                <c:pt idx="1745" formatCode="0.00">
                  <c:v>7.91</c:v>
                </c:pt>
                <c:pt idx="1746" formatCode="0.00">
                  <c:v>7.9</c:v>
                </c:pt>
                <c:pt idx="1747" formatCode="0.00">
                  <c:v>7.89</c:v>
                </c:pt>
                <c:pt idx="1748" formatCode="0.00">
                  <c:v>7.9</c:v>
                </c:pt>
                <c:pt idx="1749" formatCode="0.00">
                  <c:v>7.9</c:v>
                </c:pt>
                <c:pt idx="1750" formatCode="0.00">
                  <c:v>7.9</c:v>
                </c:pt>
                <c:pt idx="1751" formatCode="0.00">
                  <c:v>7.89</c:v>
                </c:pt>
                <c:pt idx="1752" formatCode="0.00">
                  <c:v>7.9</c:v>
                </c:pt>
                <c:pt idx="1753" formatCode="0.00">
                  <c:v>7.9</c:v>
                </c:pt>
                <c:pt idx="1754" formatCode="0.00">
                  <c:v>7.88</c:v>
                </c:pt>
                <c:pt idx="1755" formatCode="0.00">
                  <c:v>7.87</c:v>
                </c:pt>
                <c:pt idx="1756" formatCode="0.00">
                  <c:v>7.85</c:v>
                </c:pt>
                <c:pt idx="1757" formatCode="0.00">
                  <c:v>7.86</c:v>
                </c:pt>
                <c:pt idx="1758" formatCode="0.00">
                  <c:v>7.84</c:v>
                </c:pt>
                <c:pt idx="1759" formatCode="0.00">
                  <c:v>7.85</c:v>
                </c:pt>
                <c:pt idx="1760" formatCode="0.00">
                  <c:v>7.85</c:v>
                </c:pt>
                <c:pt idx="1761" formatCode="0.00">
                  <c:v>7.84</c:v>
                </c:pt>
                <c:pt idx="1762" formatCode="0.00">
                  <c:v>7.84</c:v>
                </c:pt>
                <c:pt idx="1763" formatCode="0.00">
                  <c:v>7.83</c:v>
                </c:pt>
                <c:pt idx="1764" formatCode="0.00">
                  <c:v>7.83</c:v>
                </c:pt>
                <c:pt idx="1765" formatCode="0.00">
                  <c:v>7.82</c:v>
                </c:pt>
                <c:pt idx="1766" formatCode="0.00">
                  <c:v>7.82</c:v>
                </c:pt>
                <c:pt idx="1767" formatCode="0.00">
                  <c:v>7.82</c:v>
                </c:pt>
                <c:pt idx="1768" formatCode="0.00">
                  <c:v>7.82</c:v>
                </c:pt>
                <c:pt idx="1769" formatCode="0.00">
                  <c:v>7.82</c:v>
                </c:pt>
                <c:pt idx="1770" formatCode="0.00">
                  <c:v>7.8</c:v>
                </c:pt>
                <c:pt idx="1771" formatCode="0.00">
                  <c:v>7.8</c:v>
                </c:pt>
                <c:pt idx="1772" formatCode="0.00">
                  <c:v>7.79</c:v>
                </c:pt>
                <c:pt idx="1773" formatCode="0.00">
                  <c:v>7.8</c:v>
                </c:pt>
                <c:pt idx="1774" formatCode="0.00">
                  <c:v>7.78</c:v>
                </c:pt>
                <c:pt idx="1775" formatCode="0.00">
                  <c:v>7.78</c:v>
                </c:pt>
                <c:pt idx="1776" formatCode="0.00">
                  <c:v>7.78</c:v>
                </c:pt>
                <c:pt idx="1777" formatCode="0.00">
                  <c:v>7.77</c:v>
                </c:pt>
                <c:pt idx="1778" formatCode="0.00">
                  <c:v>7.78</c:v>
                </c:pt>
                <c:pt idx="1779" formatCode="0.00">
                  <c:v>7.78</c:v>
                </c:pt>
                <c:pt idx="1780" formatCode="0.00">
                  <c:v>7.8</c:v>
                </c:pt>
                <c:pt idx="1781" formatCode="0.00">
                  <c:v>7.79</c:v>
                </c:pt>
                <c:pt idx="1782" formatCode="0.00">
                  <c:v>7.8</c:v>
                </c:pt>
                <c:pt idx="1783" formatCode="0.00">
                  <c:v>7.8</c:v>
                </c:pt>
                <c:pt idx="1784" formatCode="0.00">
                  <c:v>7.79</c:v>
                </c:pt>
                <c:pt idx="1785" formatCode="0.00">
                  <c:v>7.79</c:v>
                </c:pt>
                <c:pt idx="1786" formatCode="0.00">
                  <c:v>7.79</c:v>
                </c:pt>
                <c:pt idx="1787" formatCode="0.00">
                  <c:v>7.8</c:v>
                </c:pt>
                <c:pt idx="1788" formatCode="0.00">
                  <c:v>7.8</c:v>
                </c:pt>
                <c:pt idx="1789" formatCode="0.00">
                  <c:v>7.79</c:v>
                </c:pt>
                <c:pt idx="1790" formatCode="0.00">
                  <c:v>7.79</c:v>
                </c:pt>
                <c:pt idx="1791" formatCode="0.00">
                  <c:v>7.79</c:v>
                </c:pt>
                <c:pt idx="1792" formatCode="0.00">
                  <c:v>7.79</c:v>
                </c:pt>
                <c:pt idx="1793" formatCode="0.00">
                  <c:v>7.8</c:v>
                </c:pt>
                <c:pt idx="1794" formatCode="0.00">
                  <c:v>7.82</c:v>
                </c:pt>
                <c:pt idx="1795" formatCode="0.00">
                  <c:v>7.82</c:v>
                </c:pt>
                <c:pt idx="1796" formatCode="0.00">
                  <c:v>7.81</c:v>
                </c:pt>
                <c:pt idx="1797" formatCode="0.00">
                  <c:v>7.81</c:v>
                </c:pt>
                <c:pt idx="1798" formatCode="0.00">
                  <c:v>7.8</c:v>
                </c:pt>
                <c:pt idx="1799" formatCode="0.00">
                  <c:v>7.8</c:v>
                </c:pt>
                <c:pt idx="1800" formatCode="0.00">
                  <c:v>7.81</c:v>
                </c:pt>
                <c:pt idx="1801" formatCode="0.00">
                  <c:v>7.8</c:v>
                </c:pt>
                <c:pt idx="1802" formatCode="0.00">
                  <c:v>7.8</c:v>
                </c:pt>
                <c:pt idx="1803" formatCode="0.00">
                  <c:v>7.8</c:v>
                </c:pt>
                <c:pt idx="1804" formatCode="0.00">
                  <c:v>7.8</c:v>
                </c:pt>
                <c:pt idx="1805" formatCode="0.00">
                  <c:v>7.8</c:v>
                </c:pt>
                <c:pt idx="1806" formatCode="0.00">
                  <c:v>7.66</c:v>
                </c:pt>
                <c:pt idx="1807" formatCode="0.00">
                  <c:v>7.66</c:v>
                </c:pt>
                <c:pt idx="1808" formatCode="0.00">
                  <c:v>7.65</c:v>
                </c:pt>
                <c:pt idx="1809" formatCode="0.00">
                  <c:v>7.65</c:v>
                </c:pt>
                <c:pt idx="1810" formatCode="0.00">
                  <c:v>7.64</c:v>
                </c:pt>
                <c:pt idx="1811" formatCode="0.00">
                  <c:v>7.64</c:v>
                </c:pt>
                <c:pt idx="1812" formatCode="0.00">
                  <c:v>7.63</c:v>
                </c:pt>
                <c:pt idx="1813" formatCode="0.00">
                  <c:v>7.64</c:v>
                </c:pt>
                <c:pt idx="1814" formatCode="0.00">
                  <c:v>7.62</c:v>
                </c:pt>
                <c:pt idx="1815" formatCode="0.00">
                  <c:v>7.61</c:v>
                </c:pt>
                <c:pt idx="1816" formatCode="0.00">
                  <c:v>7.6</c:v>
                </c:pt>
                <c:pt idx="1817" formatCode="0.00">
                  <c:v>7.6</c:v>
                </c:pt>
                <c:pt idx="1818" formatCode="0.00">
                  <c:v>7.6</c:v>
                </c:pt>
                <c:pt idx="1819" formatCode="0.00">
                  <c:v>7.6</c:v>
                </c:pt>
                <c:pt idx="1820" formatCode="0.00">
                  <c:v>7.6</c:v>
                </c:pt>
                <c:pt idx="1821" formatCode="0.00">
                  <c:v>7.6</c:v>
                </c:pt>
                <c:pt idx="1822" formatCode="0.00">
                  <c:v>7.58</c:v>
                </c:pt>
                <c:pt idx="1823" formatCode="0.00">
                  <c:v>7.56</c:v>
                </c:pt>
                <c:pt idx="1824" formatCode="0.00">
                  <c:v>7.53</c:v>
                </c:pt>
                <c:pt idx="1825" formatCode="0.00">
                  <c:v>7.51</c:v>
                </c:pt>
                <c:pt idx="1826" formatCode="0.00">
                  <c:v>7.53</c:v>
                </c:pt>
                <c:pt idx="1827" formatCode="0.00">
                  <c:v>7.53</c:v>
                </c:pt>
                <c:pt idx="1828" formatCode="0.00">
                  <c:v>7.54</c:v>
                </c:pt>
                <c:pt idx="1829" formatCode="0.00">
                  <c:v>7.56</c:v>
                </c:pt>
                <c:pt idx="1830" formatCode="0.00">
                  <c:v>7.56</c:v>
                </c:pt>
                <c:pt idx="1831" formatCode="0.00">
                  <c:v>7.59</c:v>
                </c:pt>
                <c:pt idx="1832" formatCode="0.00">
                  <c:v>7.6</c:v>
                </c:pt>
                <c:pt idx="1833" formatCode="0.00">
                  <c:v>7.6</c:v>
                </c:pt>
                <c:pt idx="1834" formatCode="0.00">
                  <c:v>7.6</c:v>
                </c:pt>
                <c:pt idx="1835" formatCode="0.00">
                  <c:v>7.61</c:v>
                </c:pt>
                <c:pt idx="1836" formatCode="0.00">
                  <c:v>7.62</c:v>
                </c:pt>
                <c:pt idx="1837" formatCode="0.00">
                  <c:v>7.61</c:v>
                </c:pt>
                <c:pt idx="1838" formatCode="0.00">
                  <c:v>7.6</c:v>
                </c:pt>
                <c:pt idx="1839" formatCode="0.00">
                  <c:v>7.66</c:v>
                </c:pt>
                <c:pt idx="1840" formatCode="0.00">
                  <c:v>7.66</c:v>
                </c:pt>
                <c:pt idx="1841" formatCode="0.00">
                  <c:v>7.65</c:v>
                </c:pt>
                <c:pt idx="1842" formatCode="0.00">
                  <c:v>7.68</c:v>
                </c:pt>
                <c:pt idx="1843" formatCode="0.00">
                  <c:v>7.69</c:v>
                </c:pt>
                <c:pt idx="1844" formatCode="0.00">
                  <c:v>7.71</c:v>
                </c:pt>
                <c:pt idx="1845" formatCode="0.00">
                  <c:v>7.72</c:v>
                </c:pt>
                <c:pt idx="1846" formatCode="0.00">
                  <c:v>7.73</c:v>
                </c:pt>
                <c:pt idx="1847" formatCode="0.00">
                  <c:v>7.72</c:v>
                </c:pt>
                <c:pt idx="1848" formatCode="0.00">
                  <c:v>7.73</c:v>
                </c:pt>
                <c:pt idx="1849" formatCode="0.00">
                  <c:v>7.73</c:v>
                </c:pt>
                <c:pt idx="1850" formatCode="0.00">
                  <c:v>7.74</c:v>
                </c:pt>
                <c:pt idx="1851" formatCode="0.00">
                  <c:v>7.75</c:v>
                </c:pt>
                <c:pt idx="1852" formatCode="0.00">
                  <c:v>7.74</c:v>
                </c:pt>
                <c:pt idx="1853" formatCode="0.00">
                  <c:v>7.73</c:v>
                </c:pt>
                <c:pt idx="1854" formatCode="0.00">
                  <c:v>7.73</c:v>
                </c:pt>
                <c:pt idx="1855" formatCode="0.00">
                  <c:v>7.74</c:v>
                </c:pt>
                <c:pt idx="1856" formatCode="0.00">
                  <c:v>7.73</c:v>
                </c:pt>
                <c:pt idx="1857" formatCode="0.00">
                  <c:v>7.74</c:v>
                </c:pt>
                <c:pt idx="1858" formatCode="0.00">
                  <c:v>7.74</c:v>
                </c:pt>
                <c:pt idx="1859" formatCode="0.00">
                  <c:v>7.75</c:v>
                </c:pt>
                <c:pt idx="1860" formatCode="0.00">
                  <c:v>7.75</c:v>
                </c:pt>
                <c:pt idx="1861" formatCode="0.00">
                  <c:v>7.73</c:v>
                </c:pt>
                <c:pt idx="1862" formatCode="0.00">
                  <c:v>7.74</c:v>
                </c:pt>
                <c:pt idx="1863" formatCode="0.00">
                  <c:v>7.72</c:v>
                </c:pt>
                <c:pt idx="1864" formatCode="0.00">
                  <c:v>7.7</c:v>
                </c:pt>
                <c:pt idx="1865" formatCode="0.00">
                  <c:v>7.7</c:v>
                </c:pt>
                <c:pt idx="1866" formatCode="0.00">
                  <c:v>7.61</c:v>
                </c:pt>
                <c:pt idx="1867" formatCode="0.00">
                  <c:v>7.6</c:v>
                </c:pt>
                <c:pt idx="1868" formatCode="0.00">
                  <c:v>7.58</c:v>
                </c:pt>
                <c:pt idx="1869" formatCode="0.00">
                  <c:v>7.51</c:v>
                </c:pt>
                <c:pt idx="1870" formatCode="0.00">
                  <c:v>7.46</c:v>
                </c:pt>
                <c:pt idx="1871" formatCode="0.00">
                  <c:v>7.43</c:v>
                </c:pt>
                <c:pt idx="1872" formatCode="0.00">
                  <c:v>7.44</c:v>
                </c:pt>
                <c:pt idx="1873" formatCode="0.00">
                  <c:v>7.45</c:v>
                </c:pt>
                <c:pt idx="1874" formatCode="0.00">
                  <c:v>7.45</c:v>
                </c:pt>
                <c:pt idx="1875" formatCode="0.00">
                  <c:v>7.44</c:v>
                </c:pt>
                <c:pt idx="1876" formatCode="0.00">
                  <c:v>7.44</c:v>
                </c:pt>
                <c:pt idx="1877" formatCode="0.00">
                  <c:v>7.44</c:v>
                </c:pt>
                <c:pt idx="1878" formatCode="0.00">
                  <c:v>7.45</c:v>
                </c:pt>
                <c:pt idx="1879" formatCode="0.00">
                  <c:v>7.44</c:v>
                </c:pt>
                <c:pt idx="1880" formatCode="0.00">
                  <c:v>7.45</c:v>
                </c:pt>
                <c:pt idx="1881" formatCode="0.00">
                  <c:v>7.43</c:v>
                </c:pt>
                <c:pt idx="1882" formatCode="0.00">
                  <c:v>7.43</c:v>
                </c:pt>
                <c:pt idx="1883" formatCode="0.00">
                  <c:v>7.41</c:v>
                </c:pt>
                <c:pt idx="1884" formatCode="0.00">
                  <c:v>7.41</c:v>
                </c:pt>
                <c:pt idx="1885" formatCode="0.00">
                  <c:v>7.41</c:v>
                </c:pt>
                <c:pt idx="1886" formatCode="0.00">
                  <c:v>7.41</c:v>
                </c:pt>
                <c:pt idx="1887" formatCode="0.00">
                  <c:v>7.4</c:v>
                </c:pt>
                <c:pt idx="1888" formatCode="0.00">
                  <c:v>7.4</c:v>
                </c:pt>
                <c:pt idx="1889" formatCode="0.00">
                  <c:v>7.4</c:v>
                </c:pt>
                <c:pt idx="1890" formatCode="0.00">
                  <c:v>7.39</c:v>
                </c:pt>
                <c:pt idx="1891" formatCode="0.00">
                  <c:v>7.39</c:v>
                </c:pt>
                <c:pt idx="1892" formatCode="0.00">
                  <c:v>7.39</c:v>
                </c:pt>
                <c:pt idx="1893" formatCode="0.00">
                  <c:v>7.39</c:v>
                </c:pt>
                <c:pt idx="1894" formatCode="0.00">
                  <c:v>7.38</c:v>
                </c:pt>
                <c:pt idx="1895" formatCode="0.00">
                  <c:v>7.39</c:v>
                </c:pt>
                <c:pt idx="1896" formatCode="0.00">
                  <c:v>7.39</c:v>
                </c:pt>
                <c:pt idx="1897" formatCode="0.00">
                  <c:v>7.4</c:v>
                </c:pt>
                <c:pt idx="1898" formatCode="0.00">
                  <c:v>7.4</c:v>
                </c:pt>
                <c:pt idx="1899" formatCode="0.00">
                  <c:v>7.4</c:v>
                </c:pt>
                <c:pt idx="1900" formatCode="0.00">
                  <c:v>7.4</c:v>
                </c:pt>
                <c:pt idx="1901" formatCode="0.00">
                  <c:v>7.4</c:v>
                </c:pt>
                <c:pt idx="1902" formatCode="0.00">
                  <c:v>7.4</c:v>
                </c:pt>
                <c:pt idx="1903" formatCode="0.00">
                  <c:v>7.41</c:v>
                </c:pt>
                <c:pt idx="1904" formatCode="0.00">
                  <c:v>7.41</c:v>
                </c:pt>
                <c:pt idx="1905" formatCode="0.00">
                  <c:v>7.41</c:v>
                </c:pt>
                <c:pt idx="1906" formatCode="0.00">
                  <c:v>7.42</c:v>
                </c:pt>
                <c:pt idx="1907" formatCode="0.00">
                  <c:v>7.43</c:v>
                </c:pt>
                <c:pt idx="1908" formatCode="0.00">
                  <c:v>7.43</c:v>
                </c:pt>
                <c:pt idx="1909" formatCode="0.00">
                  <c:v>7.44</c:v>
                </c:pt>
                <c:pt idx="1910" formatCode="0.00">
                  <c:v>7.44</c:v>
                </c:pt>
                <c:pt idx="1911" formatCode="0.00">
                  <c:v>7.45</c:v>
                </c:pt>
                <c:pt idx="1912" formatCode="0.00">
                  <c:v>7.45</c:v>
                </c:pt>
                <c:pt idx="1913" formatCode="0.00">
                  <c:v>7.48</c:v>
                </c:pt>
                <c:pt idx="1914" formatCode="0.00">
                  <c:v>7.48</c:v>
                </c:pt>
                <c:pt idx="1915" formatCode="0.00">
                  <c:v>7.48</c:v>
                </c:pt>
                <c:pt idx="1916" formatCode="0.00">
                  <c:v>7.49</c:v>
                </c:pt>
                <c:pt idx="1917" formatCode="0.00">
                  <c:v>7.5</c:v>
                </c:pt>
                <c:pt idx="1918" formatCode="0.00">
                  <c:v>7.5</c:v>
                </c:pt>
                <c:pt idx="1919" formatCode="0.00">
                  <c:v>7.51</c:v>
                </c:pt>
                <c:pt idx="1920" formatCode="0.00">
                  <c:v>7.52</c:v>
                </c:pt>
                <c:pt idx="1921" formatCode="0.00">
                  <c:v>7.51</c:v>
                </c:pt>
                <c:pt idx="1922" formatCode="0.00">
                  <c:v>7.51</c:v>
                </c:pt>
                <c:pt idx="1923" formatCode="0.00">
                  <c:v>7.5</c:v>
                </c:pt>
                <c:pt idx="1924" formatCode="0.00">
                  <c:v>7.5</c:v>
                </c:pt>
                <c:pt idx="1925" formatCode="0.00">
                  <c:v>7.5</c:v>
                </c:pt>
                <c:pt idx="1926" formatCode="0.00">
                  <c:v>7.5</c:v>
                </c:pt>
                <c:pt idx="1927" formatCode="0.00">
                  <c:v>7.5</c:v>
                </c:pt>
                <c:pt idx="1928" formatCode="0.00">
                  <c:v>7.5</c:v>
                </c:pt>
                <c:pt idx="1929" formatCode="0.00">
                  <c:v>7.5</c:v>
                </c:pt>
                <c:pt idx="1930" formatCode="0.00">
                  <c:v>7.5</c:v>
                </c:pt>
                <c:pt idx="1931" formatCode="0.00">
                  <c:v>7.5</c:v>
                </c:pt>
                <c:pt idx="1932" formatCode="0.00">
                  <c:v>7.5</c:v>
                </c:pt>
                <c:pt idx="1933" formatCode="0.00">
                  <c:v>7.5</c:v>
                </c:pt>
                <c:pt idx="1934" formatCode="0.00">
                  <c:v>7.5</c:v>
                </c:pt>
                <c:pt idx="1935" formatCode="0.00">
                  <c:v>7.5</c:v>
                </c:pt>
                <c:pt idx="1936" formatCode="0.00">
                  <c:v>7.5</c:v>
                </c:pt>
                <c:pt idx="1937" formatCode="0.00">
                  <c:v>7.5</c:v>
                </c:pt>
                <c:pt idx="1938" formatCode="0.00">
                  <c:v>7.5</c:v>
                </c:pt>
                <c:pt idx="1939" formatCode="0.00">
                  <c:v>7.5</c:v>
                </c:pt>
                <c:pt idx="1940" formatCode="0.00">
                  <c:v>7.5</c:v>
                </c:pt>
                <c:pt idx="1941" formatCode="0.00">
                  <c:v>7.5</c:v>
                </c:pt>
                <c:pt idx="1942" formatCode="0.00">
                  <c:v>7.5</c:v>
                </c:pt>
                <c:pt idx="1943" formatCode="0.00">
                  <c:v>7.5</c:v>
                </c:pt>
                <c:pt idx="1944" formatCode="0.00">
                  <c:v>7.5</c:v>
                </c:pt>
                <c:pt idx="1945" formatCode="0.00">
                  <c:v>7.5</c:v>
                </c:pt>
                <c:pt idx="1946" formatCode="0.00">
                  <c:v>7.5</c:v>
                </c:pt>
                <c:pt idx="1947" formatCode="0.00">
                  <c:v>7.5</c:v>
                </c:pt>
                <c:pt idx="1948" formatCode="0.00">
                  <c:v>7.5</c:v>
                </c:pt>
                <c:pt idx="1949" formatCode="0.00">
                  <c:v>7.5</c:v>
                </c:pt>
                <c:pt idx="1950" formatCode="0.00">
                  <c:v>7.5</c:v>
                </c:pt>
                <c:pt idx="1951" formatCode="0.00">
                  <c:v>7.51</c:v>
                </c:pt>
                <c:pt idx="1952" formatCode="0.00">
                  <c:v>7.52</c:v>
                </c:pt>
                <c:pt idx="1953" formatCode="0.00">
                  <c:v>7.5</c:v>
                </c:pt>
                <c:pt idx="1954" formatCode="0.00">
                  <c:v>7.5</c:v>
                </c:pt>
                <c:pt idx="1955" formatCode="0.00">
                  <c:v>7.5</c:v>
                </c:pt>
                <c:pt idx="1956" formatCode="0.00">
                  <c:v>7.5</c:v>
                </c:pt>
                <c:pt idx="1957" formatCode="0.00">
                  <c:v>7.5</c:v>
                </c:pt>
                <c:pt idx="1958" formatCode="0.00">
                  <c:v>7.5</c:v>
                </c:pt>
                <c:pt idx="1959" formatCode="0.00">
                  <c:v>7.5</c:v>
                </c:pt>
                <c:pt idx="1960" formatCode="0.00">
                  <c:v>7.5</c:v>
                </c:pt>
                <c:pt idx="1961" formatCode="0.00">
                  <c:v>7.51</c:v>
                </c:pt>
                <c:pt idx="1962" formatCode="0.00">
                  <c:v>7.57</c:v>
                </c:pt>
                <c:pt idx="1963" formatCode="0.00">
                  <c:v>7.62</c:v>
                </c:pt>
                <c:pt idx="1964" formatCode="0.00">
                  <c:v>7.74</c:v>
                </c:pt>
                <c:pt idx="1965" formatCode="0.00">
                  <c:v>7.76</c:v>
                </c:pt>
                <c:pt idx="1966" formatCode="0.00">
                  <c:v>7.78</c:v>
                </c:pt>
                <c:pt idx="1967" formatCode="0.00">
                  <c:v>7.77</c:v>
                </c:pt>
                <c:pt idx="1968" formatCode="0.00">
                  <c:v>7.78</c:v>
                </c:pt>
                <c:pt idx="1969" formatCode="0.00">
                  <c:v>7.8</c:v>
                </c:pt>
                <c:pt idx="1970" formatCode="0.00">
                  <c:v>7.82</c:v>
                </c:pt>
                <c:pt idx="1971" formatCode="0.00">
                  <c:v>7.87</c:v>
                </c:pt>
                <c:pt idx="1972" formatCode="0.00">
                  <c:v>7.88</c:v>
                </c:pt>
                <c:pt idx="1973" formatCode="0.00">
                  <c:v>7.92</c:v>
                </c:pt>
                <c:pt idx="1974" formatCode="0.00">
                  <c:v>7.93</c:v>
                </c:pt>
                <c:pt idx="1975" formatCode="0.00">
                  <c:v>7.84</c:v>
                </c:pt>
                <c:pt idx="1976" formatCode="0.00">
                  <c:v>7.76</c:v>
                </c:pt>
                <c:pt idx="1977" formatCode="0.00">
                  <c:v>7.73</c:v>
                </c:pt>
                <c:pt idx="1978" formatCode="0.00">
                  <c:v>7.8</c:v>
                </c:pt>
                <c:pt idx="1979" formatCode="0.00">
                  <c:v>8.0399999999999991</c:v>
                </c:pt>
                <c:pt idx="1980" formatCode="0.00">
                  <c:v>8</c:v>
                </c:pt>
                <c:pt idx="1981" formatCode="0.00">
                  <c:v>7.99</c:v>
                </c:pt>
                <c:pt idx="1982" formatCode="0.00">
                  <c:v>8.0299999999999994</c:v>
                </c:pt>
                <c:pt idx="1983" formatCode="0.00">
                  <c:v>8.1300000000000008</c:v>
                </c:pt>
                <c:pt idx="1984" formatCode="0.00">
                  <c:v>8.26</c:v>
                </c:pt>
                <c:pt idx="1985" formatCode="0.00">
                  <c:v>8.24</c:v>
                </c:pt>
                <c:pt idx="1986" formatCode="0.00">
                  <c:v>8.15</c:v>
                </c:pt>
                <c:pt idx="1987" formatCode="0.00">
                  <c:v>8.19</c:v>
                </c:pt>
                <c:pt idx="1988" formatCode="0.00">
                  <c:v>8.16</c:v>
                </c:pt>
                <c:pt idx="1989" formatCode="0.00">
                  <c:v>8.1999999999999993</c:v>
                </c:pt>
                <c:pt idx="1990" formatCode="0.00">
                  <c:v>8.2200000000000006</c:v>
                </c:pt>
                <c:pt idx="1991" formatCode="0.00">
                  <c:v>8.18</c:v>
                </c:pt>
                <c:pt idx="1992" formatCode="0.00">
                  <c:v>8.16</c:v>
                </c:pt>
                <c:pt idx="1993" formatCode="0.00">
                  <c:v>8.16</c:v>
                </c:pt>
                <c:pt idx="1994" formatCode="0.00">
                  <c:v>8.14</c:v>
                </c:pt>
                <c:pt idx="1995" formatCode="0.00">
                  <c:v>8.14</c:v>
                </c:pt>
                <c:pt idx="1996" formatCode="0.00">
                  <c:v>8.16</c:v>
                </c:pt>
                <c:pt idx="1997" formatCode="0.00">
                  <c:v>8.17</c:v>
                </c:pt>
                <c:pt idx="1998" formatCode="0.00">
                  <c:v>8.23</c:v>
                </c:pt>
                <c:pt idx="1999" formatCode="0.00">
                  <c:v>8.4499999999999993</c:v>
                </c:pt>
                <c:pt idx="2000" formatCode="0.00">
                  <c:v>8.43</c:v>
                </c:pt>
                <c:pt idx="2001" formatCode="0.00">
                  <c:v>8.4</c:v>
                </c:pt>
                <c:pt idx="2002" formatCode="0.00">
                  <c:v>8.4</c:v>
                </c:pt>
                <c:pt idx="2003" formatCode="0.00">
                  <c:v>8.3699999999999992</c:v>
                </c:pt>
                <c:pt idx="2004" formatCode="0.00">
                  <c:v>8.2899999999999991</c:v>
                </c:pt>
                <c:pt idx="2005" formatCode="0.00">
                  <c:v>8.27</c:v>
                </c:pt>
                <c:pt idx="2006" formatCode="0.00">
                  <c:v>8.2799999999999994</c:v>
                </c:pt>
                <c:pt idx="2007" formatCode="0.00">
                  <c:v>8.23</c:v>
                </c:pt>
                <c:pt idx="2008" formatCode="0.00">
                  <c:v>8.2100000000000009</c:v>
                </c:pt>
                <c:pt idx="2009" formatCode="0.00">
                  <c:v>8.2100000000000009</c:v>
                </c:pt>
                <c:pt idx="2010" formatCode="0.00">
                  <c:v>8.18</c:v>
                </c:pt>
                <c:pt idx="2011" formatCode="0.00">
                  <c:v>8.19</c:v>
                </c:pt>
                <c:pt idx="2012" formatCode="0.00">
                  <c:v>8.23</c:v>
                </c:pt>
                <c:pt idx="2013" formatCode="0.00">
                  <c:v>8.25</c:v>
                </c:pt>
                <c:pt idx="2014" formatCode="0.00">
                  <c:v>8.25</c:v>
                </c:pt>
                <c:pt idx="2015" formatCode="0.00">
                  <c:v>8.2799999999999994</c:v>
                </c:pt>
                <c:pt idx="2016" formatCode="0.00">
                  <c:v>8.25</c:v>
                </c:pt>
                <c:pt idx="2017" formatCode="0.00">
                  <c:v>8.24</c:v>
                </c:pt>
                <c:pt idx="2018" formatCode="0.00">
                  <c:v>8.24</c:v>
                </c:pt>
                <c:pt idx="2019" formatCode="0.00">
                  <c:v>8.26</c:v>
                </c:pt>
                <c:pt idx="2020" formatCode="0.00">
                  <c:v>8.36</c:v>
                </c:pt>
                <c:pt idx="2021" formatCode="0.00">
                  <c:v>8.43</c:v>
                </c:pt>
                <c:pt idx="2022" formatCode="0.00">
                  <c:v>8.4600000000000009</c:v>
                </c:pt>
                <c:pt idx="2023" formatCode="0.00">
                  <c:v>8.4499999999999993</c:v>
                </c:pt>
                <c:pt idx="2024" formatCode="0.00">
                  <c:v>8.43</c:v>
                </c:pt>
                <c:pt idx="2025" formatCode="0.00">
                  <c:v>8.43</c:v>
                </c:pt>
                <c:pt idx="2026" formatCode="0.00">
                  <c:v>8.44</c:v>
                </c:pt>
                <c:pt idx="2027" formatCode="0.00">
                  <c:v>8.48</c:v>
                </c:pt>
                <c:pt idx="2028" formatCode="0.00">
                  <c:v>8.49</c:v>
                </c:pt>
                <c:pt idx="2029" formatCode="0.00">
                  <c:v>8.5399999999999991</c:v>
                </c:pt>
                <c:pt idx="2030" formatCode="0.00">
                  <c:v>8.56</c:v>
                </c:pt>
                <c:pt idx="2031" formatCode="0.00">
                  <c:v>8.56</c:v>
                </c:pt>
                <c:pt idx="2032" formatCode="0.00">
                  <c:v>8.56</c:v>
                </c:pt>
                <c:pt idx="2033" formatCode="0.00">
                  <c:v>8.57</c:v>
                </c:pt>
                <c:pt idx="2034" formatCode="0.00">
                  <c:v>8.5299999999999994</c:v>
                </c:pt>
                <c:pt idx="2035" formatCode="0.00">
                  <c:v>8.5500000000000007</c:v>
                </c:pt>
                <c:pt idx="2036" formatCode="0.00">
                  <c:v>8.56</c:v>
                </c:pt>
                <c:pt idx="2037" formatCode="0.00">
                  <c:v>8.69</c:v>
                </c:pt>
                <c:pt idx="2038" formatCode="0.00">
                  <c:v>8.6999999999999993</c:v>
                </c:pt>
                <c:pt idx="2039" formatCode="0.00">
                  <c:v>8.7100000000000009</c:v>
                </c:pt>
                <c:pt idx="2040" formatCode="0.00">
                  <c:v>8.7100000000000009</c:v>
                </c:pt>
                <c:pt idx="2041" formatCode="0.00">
                  <c:v>8.7100000000000009</c:v>
                </c:pt>
                <c:pt idx="2042" formatCode="0.00">
                  <c:v>8.7100000000000009</c:v>
                </c:pt>
                <c:pt idx="2043" formatCode="0.00">
                  <c:v>8.7100000000000009</c:v>
                </c:pt>
                <c:pt idx="2044" formatCode="0.00">
                  <c:v>8.7100000000000009</c:v>
                </c:pt>
                <c:pt idx="2045" formatCode="0.00">
                  <c:v>8.84</c:v>
                </c:pt>
                <c:pt idx="2046" formatCode="0.00">
                  <c:v>8.93</c:v>
                </c:pt>
                <c:pt idx="2047" formatCode="0.00">
                  <c:v>8.94</c:v>
                </c:pt>
                <c:pt idx="2048" formatCode="0.00">
                  <c:v>8.94</c:v>
                </c:pt>
                <c:pt idx="2049" formatCode="0.00">
                  <c:v>8.98</c:v>
                </c:pt>
                <c:pt idx="2050" formatCode="0.00">
                  <c:v>8.98</c:v>
                </c:pt>
                <c:pt idx="2051" formatCode="0.00">
                  <c:v>8.99</c:v>
                </c:pt>
                <c:pt idx="2052" formatCode="0.00">
                  <c:v>9</c:v>
                </c:pt>
                <c:pt idx="2053" formatCode="0.00">
                  <c:v>8.99</c:v>
                </c:pt>
                <c:pt idx="2054" formatCode="0.00">
                  <c:v>8.98</c:v>
                </c:pt>
                <c:pt idx="2055" formatCode="0.00">
                  <c:v>8.99</c:v>
                </c:pt>
                <c:pt idx="2056" formatCode="0.00">
                  <c:v>9.01</c:v>
                </c:pt>
                <c:pt idx="2057" formatCode="0.00">
                  <c:v>8.8800000000000008</c:v>
                </c:pt>
                <c:pt idx="2058" formatCode="0.00">
                  <c:v>8.8800000000000008</c:v>
                </c:pt>
                <c:pt idx="2059" formatCode="0.00">
                  <c:v>8.83</c:v>
                </c:pt>
                <c:pt idx="2060" formatCode="0.00">
                  <c:v>8.83</c:v>
                </c:pt>
                <c:pt idx="2061" formatCode="0.00">
                  <c:v>8.84</c:v>
                </c:pt>
                <c:pt idx="2062" formatCode="0.00">
                  <c:v>8.76</c:v>
                </c:pt>
                <c:pt idx="2063" formatCode="0.00">
                  <c:v>8.74</c:v>
                </c:pt>
                <c:pt idx="2064" formatCode="0.00">
                  <c:v>8.74</c:v>
                </c:pt>
                <c:pt idx="2065" formatCode="0.00">
                  <c:v>8.6999999999999993</c:v>
                </c:pt>
                <c:pt idx="2066" formatCode="0.00">
                  <c:v>8.66</c:v>
                </c:pt>
                <c:pt idx="2067" formatCode="0.00">
                  <c:v>8.64</c:v>
                </c:pt>
                <c:pt idx="2068" formatCode="0.00">
                  <c:v>8.6300000000000008</c:v>
                </c:pt>
                <c:pt idx="2069" formatCode="0.00">
                  <c:v>8.59</c:v>
                </c:pt>
                <c:pt idx="2070" formatCode="0.00">
                  <c:v>8.5500000000000007</c:v>
                </c:pt>
                <c:pt idx="2071" formatCode="0.00">
                  <c:v>8.5</c:v>
                </c:pt>
                <c:pt idx="2072" formatCode="0.00">
                  <c:v>8.51</c:v>
                </c:pt>
                <c:pt idx="2073" formatCode="0.00">
                  <c:v>8.5399999999999991</c:v>
                </c:pt>
                <c:pt idx="2074" formatCode="0.00">
                  <c:v>8.52</c:v>
                </c:pt>
                <c:pt idx="2075" formatCode="0.00">
                  <c:v>8.52</c:v>
                </c:pt>
                <c:pt idx="2076" formatCode="0.00">
                  <c:v>8.52</c:v>
                </c:pt>
                <c:pt idx="2077" formatCode="0.00">
                  <c:v>8.5399999999999991</c:v>
                </c:pt>
                <c:pt idx="2078" formatCode="0.00">
                  <c:v>8.52</c:v>
                </c:pt>
                <c:pt idx="2079" formatCode="0.00">
                  <c:v>8.52</c:v>
                </c:pt>
                <c:pt idx="2080" formatCode="0.00">
                  <c:v>8.51</c:v>
                </c:pt>
                <c:pt idx="2081" formatCode="0.00">
                  <c:v>8.51</c:v>
                </c:pt>
                <c:pt idx="2082" formatCode="0.00">
                  <c:v>8.51</c:v>
                </c:pt>
                <c:pt idx="2083" formatCode="0.00">
                  <c:v>8.51</c:v>
                </c:pt>
                <c:pt idx="2084" formatCode="0.00">
                  <c:v>8.51</c:v>
                </c:pt>
                <c:pt idx="2085" formatCode="0.00">
                  <c:v>8.51</c:v>
                </c:pt>
                <c:pt idx="2086" formatCode="0.00">
                  <c:v>8.52</c:v>
                </c:pt>
                <c:pt idx="2087" formatCode="0.00">
                  <c:v>8.5299999999999994</c:v>
                </c:pt>
                <c:pt idx="2088" formatCode="0.00">
                  <c:v>8.5500000000000007</c:v>
                </c:pt>
                <c:pt idx="2089" formatCode="0.00">
                  <c:v>8.5500000000000007</c:v>
                </c:pt>
                <c:pt idx="2090" formatCode="0.00">
                  <c:v>8.5500000000000007</c:v>
                </c:pt>
                <c:pt idx="2091" formatCode="0.00">
                  <c:v>8.5500000000000007</c:v>
                </c:pt>
                <c:pt idx="2092" formatCode="0.00">
                  <c:v>8.5500000000000007</c:v>
                </c:pt>
                <c:pt idx="2093" formatCode="0.00">
                  <c:v>8.5500000000000007</c:v>
                </c:pt>
                <c:pt idx="2094" formatCode="0.00">
                  <c:v>8.5500000000000007</c:v>
                </c:pt>
                <c:pt idx="2095" formatCode="0.00">
                  <c:v>8.56</c:v>
                </c:pt>
                <c:pt idx="2096" formatCode="0.00">
                  <c:v>8.56</c:v>
                </c:pt>
                <c:pt idx="2097" formatCode="0.00">
                  <c:v>8.56</c:v>
                </c:pt>
                <c:pt idx="2098" formatCode="0.00">
                  <c:v>8.56</c:v>
                </c:pt>
                <c:pt idx="2099" formatCode="0.00">
                  <c:v>8.57</c:v>
                </c:pt>
                <c:pt idx="2100" formatCode="0.00">
                  <c:v>8.58</c:v>
                </c:pt>
                <c:pt idx="2101" formatCode="0.00">
                  <c:v>8.6</c:v>
                </c:pt>
                <c:pt idx="2102" formatCode="0.00">
                  <c:v>8.58</c:v>
                </c:pt>
                <c:pt idx="2103" formatCode="0.00">
                  <c:v>8.58</c:v>
                </c:pt>
                <c:pt idx="2104" formatCode="0.00">
                  <c:v>8.58</c:v>
                </c:pt>
                <c:pt idx="2105" formatCode="0.00">
                  <c:v>8.58</c:v>
                </c:pt>
                <c:pt idx="2106" formatCode="0.00">
                  <c:v>8.58</c:v>
                </c:pt>
                <c:pt idx="2107" formatCode="0.00">
                  <c:v>8.58</c:v>
                </c:pt>
                <c:pt idx="2108" formatCode="0.00">
                  <c:v>8.59</c:v>
                </c:pt>
                <c:pt idx="2109" formatCode="0.00">
                  <c:v>8.6</c:v>
                </c:pt>
                <c:pt idx="2110" formatCode="0.00">
                  <c:v>8.59</c:v>
                </c:pt>
                <c:pt idx="2111" formatCode="0.00">
                  <c:v>8.59</c:v>
                </c:pt>
                <c:pt idx="2112" formatCode="0.00">
                  <c:v>8.6</c:v>
                </c:pt>
                <c:pt idx="2113" formatCode="0.00">
                  <c:v>8.59</c:v>
                </c:pt>
                <c:pt idx="2114" formatCode="0.00">
                  <c:v>8.58</c:v>
                </c:pt>
                <c:pt idx="2115" formatCode="0.00">
                  <c:v>8.59</c:v>
                </c:pt>
                <c:pt idx="2116" formatCode="0.00">
                  <c:v>8.6199999999999992</c:v>
                </c:pt>
                <c:pt idx="2117" formatCode="0.00">
                  <c:v>8.64</c:v>
                </c:pt>
                <c:pt idx="2118" formatCode="0.00">
                  <c:v>8.66</c:v>
                </c:pt>
                <c:pt idx="2119" formatCode="0.00">
                  <c:v>8.67</c:v>
                </c:pt>
                <c:pt idx="2120" formatCode="0.00">
                  <c:v>8.66</c:v>
                </c:pt>
                <c:pt idx="2121" formatCode="0.00">
                  <c:v>8.66</c:v>
                </c:pt>
                <c:pt idx="2122" formatCode="0.00">
                  <c:v>8.66</c:v>
                </c:pt>
                <c:pt idx="2123" formatCode="0.00">
                  <c:v>8.66</c:v>
                </c:pt>
                <c:pt idx="2124" formatCode="0.00">
                  <c:v>8.66</c:v>
                </c:pt>
                <c:pt idx="2125" formatCode="0.00">
                  <c:v>8.68</c:v>
                </c:pt>
                <c:pt idx="2126" formatCode="0.00">
                  <c:v>8.7200000000000006</c:v>
                </c:pt>
                <c:pt idx="2127" formatCode="0.00">
                  <c:v>8.73</c:v>
                </c:pt>
                <c:pt idx="2128" formatCode="0.00">
                  <c:v>8.73</c:v>
                </c:pt>
                <c:pt idx="2129" formatCode="0.00">
                  <c:v>8.77</c:v>
                </c:pt>
                <c:pt idx="2130" formatCode="0.00">
                  <c:v>8.7799999999999994</c:v>
                </c:pt>
                <c:pt idx="2131" formatCode="0.00">
                  <c:v>8.81</c:v>
                </c:pt>
                <c:pt idx="2132" formatCode="0.00">
                  <c:v>8.83</c:v>
                </c:pt>
                <c:pt idx="2133" formatCode="0.00">
                  <c:v>8.83</c:v>
                </c:pt>
                <c:pt idx="2134" formatCode="0.00">
                  <c:v>8.89</c:v>
                </c:pt>
                <c:pt idx="2135" formatCode="0.00">
                  <c:v>8.9</c:v>
                </c:pt>
                <c:pt idx="2136" formatCode="0.00">
                  <c:v>8.8699999999999992</c:v>
                </c:pt>
                <c:pt idx="2137" formatCode="0.00">
                  <c:v>8.8800000000000008</c:v>
                </c:pt>
                <c:pt idx="2138" formatCode="0.00">
                  <c:v>8.91</c:v>
                </c:pt>
                <c:pt idx="2139" formatCode="0.00">
                  <c:v>8.92</c:v>
                </c:pt>
                <c:pt idx="2140" formatCode="0.00">
                  <c:v>8.89</c:v>
                </c:pt>
                <c:pt idx="2141" formatCode="0.00">
                  <c:v>8.93</c:v>
                </c:pt>
                <c:pt idx="2142" formatCode="0.00">
                  <c:v>8.9499999999999993</c:v>
                </c:pt>
                <c:pt idx="2143" formatCode="0.00">
                  <c:v>9</c:v>
                </c:pt>
                <c:pt idx="2144" formatCode="0.00">
                  <c:v>12.46</c:v>
                </c:pt>
                <c:pt idx="2145" formatCode="0.00">
                  <c:v>12.26</c:v>
                </c:pt>
                <c:pt idx="2146" formatCode="0.00">
                  <c:v>12.17</c:v>
                </c:pt>
                <c:pt idx="2147" formatCode="0.00">
                  <c:v>12.08</c:v>
                </c:pt>
                <c:pt idx="2148" formatCode="0.00">
                  <c:v>11.87</c:v>
                </c:pt>
                <c:pt idx="2149" formatCode="0.00">
                  <c:v>11.8</c:v>
                </c:pt>
                <c:pt idx="2150" formatCode="0.00">
                  <c:v>11.73</c:v>
                </c:pt>
                <c:pt idx="2151" formatCode="0.00">
                  <c:v>11.64</c:v>
                </c:pt>
                <c:pt idx="2152" formatCode="0.00">
                  <c:v>11.65</c:v>
                </c:pt>
                <c:pt idx="2153" formatCode="0.00">
                  <c:v>11.69</c:v>
                </c:pt>
                <c:pt idx="2154" formatCode="0.00">
                  <c:v>11.68</c:v>
                </c:pt>
                <c:pt idx="2155" formatCode="0.00">
                  <c:v>11.66</c:v>
                </c:pt>
                <c:pt idx="2156" formatCode="0.00">
                  <c:v>11.66</c:v>
                </c:pt>
                <c:pt idx="2157" formatCode="0.00">
                  <c:v>11.65</c:v>
                </c:pt>
                <c:pt idx="2158" formatCode="0.00">
                  <c:v>11.66</c:v>
                </c:pt>
                <c:pt idx="2159" formatCode="0.00">
                  <c:v>11.67</c:v>
                </c:pt>
                <c:pt idx="2160" formatCode="0.00">
                  <c:v>11.68</c:v>
                </c:pt>
                <c:pt idx="2161" formatCode="0.00">
                  <c:v>11.67</c:v>
                </c:pt>
                <c:pt idx="2162" formatCode="0.00">
                  <c:v>11.67</c:v>
                </c:pt>
                <c:pt idx="2163" formatCode="0.00">
                  <c:v>11.66</c:v>
                </c:pt>
                <c:pt idx="2164" formatCode="0.00">
                  <c:v>11.66</c:v>
                </c:pt>
                <c:pt idx="2165" formatCode="0.00">
                  <c:v>11.16</c:v>
                </c:pt>
                <c:pt idx="2166" formatCode="0.00">
                  <c:v>11.14</c:v>
                </c:pt>
                <c:pt idx="2167" formatCode="0.00">
                  <c:v>11.12</c:v>
                </c:pt>
                <c:pt idx="2168" formatCode="0.00">
                  <c:v>11.1</c:v>
                </c:pt>
                <c:pt idx="2169" formatCode="0.00">
                  <c:v>11.08</c:v>
                </c:pt>
                <c:pt idx="2170" formatCode="0.00">
                  <c:v>11.08</c:v>
                </c:pt>
                <c:pt idx="2171" formatCode="0.00">
                  <c:v>11.07</c:v>
                </c:pt>
                <c:pt idx="2172" formatCode="0.00">
                  <c:v>11.06</c:v>
                </c:pt>
                <c:pt idx="2173" formatCode="0.00">
                  <c:v>11.03</c:v>
                </c:pt>
                <c:pt idx="2174" formatCode="0.00">
                  <c:v>11.02</c:v>
                </c:pt>
                <c:pt idx="2175" formatCode="0.00">
                  <c:v>10.53</c:v>
                </c:pt>
                <c:pt idx="2176" formatCode="0.00">
                  <c:v>10.52</c:v>
                </c:pt>
                <c:pt idx="2177" formatCode="0.00">
                  <c:v>10.53</c:v>
                </c:pt>
                <c:pt idx="2178" formatCode="0.00">
                  <c:v>10.51</c:v>
                </c:pt>
                <c:pt idx="2179" formatCode="0.00">
                  <c:v>10.49</c:v>
                </c:pt>
                <c:pt idx="2180" formatCode="0.00">
                  <c:v>10.48</c:v>
                </c:pt>
                <c:pt idx="2181" formatCode="0.00">
                  <c:v>10.46</c:v>
                </c:pt>
                <c:pt idx="2182" formatCode="0.00">
                  <c:v>10.44</c:v>
                </c:pt>
                <c:pt idx="2183" formatCode="0.00">
                  <c:v>10.43</c:v>
                </c:pt>
                <c:pt idx="2184" formatCode="0.00">
                  <c:v>10.43</c:v>
                </c:pt>
                <c:pt idx="2185" formatCode="0.00">
                  <c:v>10.43</c:v>
                </c:pt>
                <c:pt idx="2186" formatCode="0.00">
                  <c:v>10</c:v>
                </c:pt>
                <c:pt idx="2187" formatCode="0.00">
                  <c:v>10</c:v>
                </c:pt>
                <c:pt idx="2188" formatCode="0.00">
                  <c:v>10</c:v>
                </c:pt>
                <c:pt idx="2189" formatCode="0.00">
                  <c:v>10</c:v>
                </c:pt>
                <c:pt idx="2190" formatCode="0.00">
                  <c:v>9.98</c:v>
                </c:pt>
                <c:pt idx="2191" formatCode="0.00">
                  <c:v>9.9600000000000009</c:v>
                </c:pt>
                <c:pt idx="2192" formatCode="0.00">
                  <c:v>9.91</c:v>
                </c:pt>
                <c:pt idx="2193" formatCode="0.00">
                  <c:v>9.89</c:v>
                </c:pt>
                <c:pt idx="2194" formatCode="0.00">
                  <c:v>9.9</c:v>
                </c:pt>
                <c:pt idx="2195" formatCode="0.00">
                  <c:v>9.9</c:v>
                </c:pt>
                <c:pt idx="2196" formatCode="0.00">
                  <c:v>9.9</c:v>
                </c:pt>
                <c:pt idx="2197" formatCode="0.00">
                  <c:v>9.89</c:v>
                </c:pt>
                <c:pt idx="2198" formatCode="0.00">
                  <c:v>9.89</c:v>
                </c:pt>
                <c:pt idx="2199" formatCode="0.00">
                  <c:v>9.8800000000000008</c:v>
                </c:pt>
                <c:pt idx="2200" formatCode="0.00">
                  <c:v>9.84</c:v>
                </c:pt>
                <c:pt idx="2201" formatCode="0.00">
                  <c:v>9.4700000000000006</c:v>
                </c:pt>
                <c:pt idx="2202" formatCode="0.00">
                  <c:v>9.4700000000000006</c:v>
                </c:pt>
                <c:pt idx="2203" formatCode="0.00">
                  <c:v>9.4700000000000006</c:v>
                </c:pt>
                <c:pt idx="2204" formatCode="0.00">
                  <c:v>9.4700000000000006</c:v>
                </c:pt>
                <c:pt idx="2205" formatCode="0.00">
                  <c:v>9.48</c:v>
                </c:pt>
                <c:pt idx="2206" formatCode="0.00">
                  <c:v>9.4700000000000006</c:v>
                </c:pt>
                <c:pt idx="2207" formatCode="0.00">
                  <c:v>9.4700000000000006</c:v>
                </c:pt>
                <c:pt idx="2208" formatCode="0.00">
                  <c:v>9.4700000000000006</c:v>
                </c:pt>
                <c:pt idx="2209" formatCode="0.00">
                  <c:v>9.4700000000000006</c:v>
                </c:pt>
                <c:pt idx="2210" formatCode="0.00">
                  <c:v>9.4600000000000009</c:v>
                </c:pt>
                <c:pt idx="2211" formatCode="0.00">
                  <c:v>9.4600000000000009</c:v>
                </c:pt>
                <c:pt idx="2212" formatCode="0.00">
                  <c:v>9.48</c:v>
                </c:pt>
                <c:pt idx="2213" formatCode="0.00">
                  <c:v>9.49</c:v>
                </c:pt>
                <c:pt idx="2214" formatCode="0.00">
                  <c:v>9.49</c:v>
                </c:pt>
                <c:pt idx="2215" formatCode="0.00">
                  <c:v>9.5</c:v>
                </c:pt>
                <c:pt idx="2216" formatCode="0.00">
                  <c:v>9.49</c:v>
                </c:pt>
                <c:pt idx="2217" formatCode="0.00">
                  <c:v>9.49</c:v>
                </c:pt>
                <c:pt idx="2218" formatCode="0.00">
                  <c:v>9.5</c:v>
                </c:pt>
                <c:pt idx="2219" formatCode="0.00">
                  <c:v>9.5</c:v>
                </c:pt>
                <c:pt idx="2220" formatCode="0.00">
                  <c:v>9.5</c:v>
                </c:pt>
                <c:pt idx="2221" formatCode="0.00">
                  <c:v>9.5</c:v>
                </c:pt>
                <c:pt idx="2222" formatCode="0.00">
                  <c:v>9.5</c:v>
                </c:pt>
                <c:pt idx="2223" formatCode="0.00">
                  <c:v>9.5</c:v>
                </c:pt>
                <c:pt idx="2224" formatCode="0.00">
                  <c:v>9.5</c:v>
                </c:pt>
                <c:pt idx="2225" formatCode="0.00">
                  <c:v>9.5</c:v>
                </c:pt>
                <c:pt idx="2226" formatCode="0.00">
                  <c:v>9.5</c:v>
                </c:pt>
                <c:pt idx="2227" formatCode="0.00">
                  <c:v>9.51</c:v>
                </c:pt>
                <c:pt idx="2228" formatCode="0.00">
                  <c:v>9.51</c:v>
                </c:pt>
                <c:pt idx="2229" formatCode="0.00">
                  <c:v>9.5</c:v>
                </c:pt>
                <c:pt idx="2230" formatCode="0.00">
                  <c:v>9.5</c:v>
                </c:pt>
                <c:pt idx="2231" formatCode="0.00">
                  <c:v>9.5</c:v>
                </c:pt>
                <c:pt idx="2232" formatCode="0.00">
                  <c:v>9.5</c:v>
                </c:pt>
                <c:pt idx="2233" formatCode="0.00">
                  <c:v>9.5</c:v>
                </c:pt>
                <c:pt idx="2234" formatCode="0.00">
                  <c:v>9.5</c:v>
                </c:pt>
                <c:pt idx="2235" formatCode="0.00">
                  <c:v>9.5</c:v>
                </c:pt>
                <c:pt idx="2236" formatCode="0.00">
                  <c:v>9.52</c:v>
                </c:pt>
                <c:pt idx="2237" formatCode="0.00">
                  <c:v>9.52</c:v>
                </c:pt>
                <c:pt idx="2238" formatCode="0.00">
                  <c:v>9.5399999999999991</c:v>
                </c:pt>
                <c:pt idx="2239" formatCode="0.00">
                  <c:v>9.5500000000000007</c:v>
                </c:pt>
                <c:pt idx="2240" formatCode="0.00">
                  <c:v>9.5500000000000007</c:v>
                </c:pt>
                <c:pt idx="2241" formatCode="0.00">
                  <c:v>9.5500000000000007</c:v>
                </c:pt>
                <c:pt idx="2242" formatCode="0.00">
                  <c:v>9.5399999999999991</c:v>
                </c:pt>
                <c:pt idx="2243" formatCode="0.00">
                  <c:v>9.56</c:v>
                </c:pt>
                <c:pt idx="2244" formatCode="0.00">
                  <c:v>9.56</c:v>
                </c:pt>
                <c:pt idx="2245" formatCode="0.00">
                  <c:v>9.57</c:v>
                </c:pt>
                <c:pt idx="2246" formatCode="0.00">
                  <c:v>9.56</c:v>
                </c:pt>
                <c:pt idx="2247" formatCode="0.00">
                  <c:v>9.56</c:v>
                </c:pt>
                <c:pt idx="2248" formatCode="0.00">
                  <c:v>9.57</c:v>
                </c:pt>
                <c:pt idx="2249" formatCode="0.00">
                  <c:v>9.6300000000000008</c:v>
                </c:pt>
                <c:pt idx="2250" formatCode="0.00">
                  <c:v>9.65</c:v>
                </c:pt>
                <c:pt idx="2251" formatCode="0.00">
                  <c:v>9.73</c:v>
                </c:pt>
                <c:pt idx="2252" formatCode="0.00">
                  <c:v>9.7799999999999994</c:v>
                </c:pt>
                <c:pt idx="2253" formatCode="0.00">
                  <c:v>9.83</c:v>
                </c:pt>
                <c:pt idx="2254" formatCode="0.00">
                  <c:v>9.85</c:v>
                </c:pt>
                <c:pt idx="2255" formatCode="0.00">
                  <c:v>9.81</c:v>
                </c:pt>
                <c:pt idx="2256" formatCode="0.00">
                  <c:v>9.7899999999999991</c:v>
                </c:pt>
                <c:pt idx="2257" formatCode="0.00">
                  <c:v>9.77</c:v>
                </c:pt>
                <c:pt idx="2258" formatCode="0.00">
                  <c:v>9.76</c:v>
                </c:pt>
                <c:pt idx="2259" formatCode="0.00">
                  <c:v>9.75</c:v>
                </c:pt>
                <c:pt idx="2260" formatCode="0.00">
                  <c:v>9.7200000000000006</c:v>
                </c:pt>
                <c:pt idx="2261" formatCode="0.00">
                  <c:v>9.7100000000000009</c:v>
                </c:pt>
                <c:pt idx="2262" formatCode="0.00">
                  <c:v>9.69</c:v>
                </c:pt>
                <c:pt idx="2263" formatCode="0.00">
                  <c:v>9.69</c:v>
                </c:pt>
                <c:pt idx="2264" formatCode="0.00">
                  <c:v>9.69</c:v>
                </c:pt>
                <c:pt idx="2265" formatCode="0.00">
                  <c:v>9.69</c:v>
                </c:pt>
                <c:pt idx="2266" formatCode="0.00">
                  <c:v>9.68</c:v>
                </c:pt>
                <c:pt idx="2267" formatCode="0.00">
                  <c:v>9.69</c:v>
                </c:pt>
                <c:pt idx="2268" formatCode="0.00">
                  <c:v>9.69</c:v>
                </c:pt>
                <c:pt idx="2269" formatCode="0.00">
                  <c:v>9.69</c:v>
                </c:pt>
                <c:pt idx="2270" formatCode="0.00">
                  <c:v>9.6999999999999993</c:v>
                </c:pt>
                <c:pt idx="2271" formatCode="0.00">
                  <c:v>9.69</c:v>
                </c:pt>
                <c:pt idx="2272" formatCode="0.00">
                  <c:v>9.69</c:v>
                </c:pt>
                <c:pt idx="2273" formatCode="0.00">
                  <c:v>9.69</c:v>
                </c:pt>
                <c:pt idx="2274" formatCode="0.00">
                  <c:v>9.6999999999999993</c:v>
                </c:pt>
                <c:pt idx="2275" formatCode="0.00">
                  <c:v>9.69</c:v>
                </c:pt>
                <c:pt idx="2276" formatCode="0.00">
                  <c:v>9.69</c:v>
                </c:pt>
                <c:pt idx="2277" formatCode="0.00">
                  <c:v>9.68</c:v>
                </c:pt>
                <c:pt idx="2278" formatCode="0.00">
                  <c:v>9.67</c:v>
                </c:pt>
                <c:pt idx="2279" formatCode="0.00">
                  <c:v>9.67</c:v>
                </c:pt>
                <c:pt idx="2280" formatCode="0.00">
                  <c:v>9.66</c:v>
                </c:pt>
                <c:pt idx="2281" formatCode="0.00">
                  <c:v>9.66</c:v>
                </c:pt>
                <c:pt idx="2282" formatCode="0.00">
                  <c:v>9.66</c:v>
                </c:pt>
                <c:pt idx="2283" formatCode="0.00">
                  <c:v>9.66</c:v>
                </c:pt>
                <c:pt idx="2284" formatCode="0.00">
                  <c:v>9.66</c:v>
                </c:pt>
                <c:pt idx="2285" formatCode="0.00">
                  <c:v>9.66</c:v>
                </c:pt>
                <c:pt idx="2286" formatCode="0.00">
                  <c:v>9.66</c:v>
                </c:pt>
                <c:pt idx="2287" formatCode="0.00">
                  <c:v>9.66</c:v>
                </c:pt>
                <c:pt idx="2288" formatCode="0.00">
                  <c:v>9.67</c:v>
                </c:pt>
                <c:pt idx="2289" formatCode="0.00">
                  <c:v>9.67</c:v>
                </c:pt>
                <c:pt idx="2290" formatCode="0.00">
                  <c:v>9.67</c:v>
                </c:pt>
                <c:pt idx="2291" formatCode="0.00">
                  <c:v>9.67</c:v>
                </c:pt>
                <c:pt idx="2292" formatCode="0.00">
                  <c:v>9.67</c:v>
                </c:pt>
                <c:pt idx="2293" formatCode="0.00">
                  <c:v>9.66</c:v>
                </c:pt>
                <c:pt idx="2294" formatCode="0.00">
                  <c:v>9.66</c:v>
                </c:pt>
                <c:pt idx="2295" formatCode="0.00">
                  <c:v>9.67</c:v>
                </c:pt>
                <c:pt idx="2296" formatCode="0.00">
                  <c:v>9.66</c:v>
                </c:pt>
                <c:pt idx="2297" formatCode="0.00">
                  <c:v>9.65</c:v>
                </c:pt>
                <c:pt idx="2298" formatCode="0.00">
                  <c:v>9.66</c:v>
                </c:pt>
                <c:pt idx="2299" formatCode="0.00">
                  <c:v>9.67</c:v>
                </c:pt>
                <c:pt idx="2300" formatCode="0.00">
                  <c:v>9.67</c:v>
                </c:pt>
                <c:pt idx="2301" formatCode="0.00">
                  <c:v>9.66</c:v>
                </c:pt>
                <c:pt idx="2302" formatCode="0.00">
                  <c:v>9.65</c:v>
                </c:pt>
                <c:pt idx="2303" formatCode="0.00">
                  <c:v>9.64</c:v>
                </c:pt>
                <c:pt idx="2304" formatCode="0.00">
                  <c:v>9.66</c:v>
                </c:pt>
                <c:pt idx="2305" formatCode="0.00">
                  <c:v>9.65</c:v>
                </c:pt>
                <c:pt idx="2306" formatCode="0.00">
                  <c:v>9.64</c:v>
                </c:pt>
                <c:pt idx="2307" formatCode="0.00">
                  <c:v>9.66</c:v>
                </c:pt>
                <c:pt idx="2308" formatCode="0.00">
                  <c:v>9.64</c:v>
                </c:pt>
                <c:pt idx="2309" formatCode="0.00">
                  <c:v>9.64</c:v>
                </c:pt>
                <c:pt idx="2310" formatCode="0.00">
                  <c:v>9.65</c:v>
                </c:pt>
                <c:pt idx="2311" formatCode="0.00">
                  <c:v>9.64</c:v>
                </c:pt>
                <c:pt idx="2312" formatCode="0.00">
                  <c:v>9.64</c:v>
                </c:pt>
                <c:pt idx="2313" formatCode="0.00">
                  <c:v>9.66</c:v>
                </c:pt>
                <c:pt idx="2314" formatCode="0.00">
                  <c:v>9.65</c:v>
                </c:pt>
                <c:pt idx="2315" formatCode="0.00">
                  <c:v>9.66</c:v>
                </c:pt>
                <c:pt idx="2316" formatCode="0.00">
                  <c:v>9.66</c:v>
                </c:pt>
                <c:pt idx="2317" formatCode="0.00">
                  <c:v>9.65</c:v>
                </c:pt>
                <c:pt idx="2318" formatCode="0.00">
                  <c:v>9.64</c:v>
                </c:pt>
                <c:pt idx="2319" formatCode="0.00">
                  <c:v>9.6300000000000008</c:v>
                </c:pt>
                <c:pt idx="2320" formatCode="0.00">
                  <c:v>9.6300000000000008</c:v>
                </c:pt>
                <c:pt idx="2321" formatCode="0.00">
                  <c:v>9.64</c:v>
                </c:pt>
                <c:pt idx="2322" formatCode="0.00">
                  <c:v>9.6199999999999992</c:v>
                </c:pt>
                <c:pt idx="2323" formatCode="0.00">
                  <c:v>9.6199999999999992</c:v>
                </c:pt>
                <c:pt idx="2324" formatCode="0.00">
                  <c:v>9.6</c:v>
                </c:pt>
                <c:pt idx="2325" formatCode="0.00">
                  <c:v>9.56</c:v>
                </c:pt>
                <c:pt idx="2326" formatCode="0.00">
                  <c:v>9.5299999999999994</c:v>
                </c:pt>
                <c:pt idx="2327" formatCode="0.00">
                  <c:v>9.5</c:v>
                </c:pt>
                <c:pt idx="2328" formatCode="0.00">
                  <c:v>9.48</c:v>
                </c:pt>
                <c:pt idx="2329" formatCode="0.00">
                  <c:v>9.48</c:v>
                </c:pt>
                <c:pt idx="2330" formatCode="0.00">
                  <c:v>9.48</c:v>
                </c:pt>
                <c:pt idx="2331" formatCode="0.00">
                  <c:v>9.4700000000000006</c:v>
                </c:pt>
                <c:pt idx="2332" formatCode="0.00">
                  <c:v>9.4600000000000009</c:v>
                </c:pt>
                <c:pt idx="2333" formatCode="0.00">
                  <c:v>9.43</c:v>
                </c:pt>
                <c:pt idx="2334" formatCode="0.00">
                  <c:v>8.52</c:v>
                </c:pt>
                <c:pt idx="2335" formatCode="0.00">
                  <c:v>8.5</c:v>
                </c:pt>
                <c:pt idx="2336" formatCode="0.00">
                  <c:v>8.49</c:v>
                </c:pt>
                <c:pt idx="2337" formatCode="0.00">
                  <c:v>8.49</c:v>
                </c:pt>
                <c:pt idx="2338" formatCode="0.00">
                  <c:v>8.49</c:v>
                </c:pt>
                <c:pt idx="2339" formatCode="0.00">
                  <c:v>8.49</c:v>
                </c:pt>
                <c:pt idx="2340" formatCode="0.00">
                  <c:v>8.49</c:v>
                </c:pt>
                <c:pt idx="2341" formatCode="0.00">
                  <c:v>8.49</c:v>
                </c:pt>
                <c:pt idx="2342" formatCode="0.00">
                  <c:v>8.49</c:v>
                </c:pt>
                <c:pt idx="2343" formatCode="0.00">
                  <c:v>8.49</c:v>
                </c:pt>
                <c:pt idx="2344" formatCode="0.00">
                  <c:v>8.4700000000000006</c:v>
                </c:pt>
                <c:pt idx="2345" formatCode="0.00">
                  <c:v>8.4499999999999993</c:v>
                </c:pt>
                <c:pt idx="2346" formatCode="0.00">
                  <c:v>8.42</c:v>
                </c:pt>
                <c:pt idx="2347" formatCode="0.00">
                  <c:v>8.42</c:v>
                </c:pt>
                <c:pt idx="2348" formatCode="0.00">
                  <c:v>8.41</c:v>
                </c:pt>
                <c:pt idx="2349" formatCode="0.00">
                  <c:v>8.41</c:v>
                </c:pt>
                <c:pt idx="2350" formatCode="0.00">
                  <c:v>8.4</c:v>
                </c:pt>
                <c:pt idx="2351" formatCode="0.00">
                  <c:v>8.39</c:v>
                </c:pt>
                <c:pt idx="2352" formatCode="0.00">
                  <c:v>7.96</c:v>
                </c:pt>
                <c:pt idx="2353" formatCode="0.00">
                  <c:v>7.94</c:v>
                </c:pt>
                <c:pt idx="2354" formatCode="0.00">
                  <c:v>7.94</c:v>
                </c:pt>
                <c:pt idx="2355" formatCode="0.00">
                  <c:v>7.93</c:v>
                </c:pt>
                <c:pt idx="2356" formatCode="0.00">
                  <c:v>7.93</c:v>
                </c:pt>
                <c:pt idx="2357" formatCode="0.00">
                  <c:v>7.93</c:v>
                </c:pt>
                <c:pt idx="2358" formatCode="0.00">
                  <c:v>7.93</c:v>
                </c:pt>
                <c:pt idx="2359" formatCode="0.00">
                  <c:v>7.93</c:v>
                </c:pt>
                <c:pt idx="2360" formatCode="0.00">
                  <c:v>7.93</c:v>
                </c:pt>
                <c:pt idx="2361" formatCode="0.00">
                  <c:v>7.92</c:v>
                </c:pt>
                <c:pt idx="2362" formatCode="0.00">
                  <c:v>7.93</c:v>
                </c:pt>
                <c:pt idx="2363" formatCode="0.00">
                  <c:v>7.93</c:v>
                </c:pt>
                <c:pt idx="2364" formatCode="0.00">
                  <c:v>7.93</c:v>
                </c:pt>
                <c:pt idx="2365" formatCode="0.00">
                  <c:v>7.93</c:v>
                </c:pt>
                <c:pt idx="2366" formatCode="0.00">
                  <c:v>7.93</c:v>
                </c:pt>
                <c:pt idx="2367" formatCode="0.00">
                  <c:v>7.92</c:v>
                </c:pt>
                <c:pt idx="2368" formatCode="0.00">
                  <c:v>7.93</c:v>
                </c:pt>
                <c:pt idx="2369" formatCode="0.00">
                  <c:v>7.92</c:v>
                </c:pt>
                <c:pt idx="2370" formatCode="0.00">
                  <c:v>7.91</c:v>
                </c:pt>
                <c:pt idx="2371" formatCode="0.00">
                  <c:v>7.91</c:v>
                </c:pt>
                <c:pt idx="2372" formatCode="0.00">
                  <c:v>7.91</c:v>
                </c:pt>
                <c:pt idx="2373" formatCode="0.00">
                  <c:v>7.92</c:v>
                </c:pt>
                <c:pt idx="2374" formatCode="0.00">
                  <c:v>7.9</c:v>
                </c:pt>
                <c:pt idx="2375" formatCode="0.00">
                  <c:v>7.89</c:v>
                </c:pt>
                <c:pt idx="2376" formatCode="0.00">
                  <c:v>7.89</c:v>
                </c:pt>
                <c:pt idx="2377" formatCode="0.00">
                  <c:v>7.85</c:v>
                </c:pt>
                <c:pt idx="2378" formatCode="0.00">
                  <c:v>7.46</c:v>
                </c:pt>
                <c:pt idx="2379" formatCode="0.00">
                  <c:v>7.43</c:v>
                </c:pt>
                <c:pt idx="2380" formatCode="0.00">
                  <c:v>7.43</c:v>
                </c:pt>
                <c:pt idx="2381" formatCode="0.00">
                  <c:v>7.43</c:v>
                </c:pt>
                <c:pt idx="2382" formatCode="0.00">
                  <c:v>7.43</c:v>
                </c:pt>
                <c:pt idx="2383" formatCode="0.00">
                  <c:v>7.43</c:v>
                </c:pt>
                <c:pt idx="2384" formatCode="0.00">
                  <c:v>7.41</c:v>
                </c:pt>
                <c:pt idx="2385" formatCode="0.00">
                  <c:v>7.43</c:v>
                </c:pt>
                <c:pt idx="2386" formatCode="0.00">
                  <c:v>7.41</c:v>
                </c:pt>
                <c:pt idx="2387" formatCode="0.00">
                  <c:v>7.41</c:v>
                </c:pt>
                <c:pt idx="2388" formatCode="0.00">
                  <c:v>7.4</c:v>
                </c:pt>
                <c:pt idx="2389" formatCode="0.00">
                  <c:v>7.4</c:v>
                </c:pt>
                <c:pt idx="2390" formatCode="0.00">
                  <c:v>7.38</c:v>
                </c:pt>
                <c:pt idx="2391" formatCode="0.00">
                  <c:v>7.37</c:v>
                </c:pt>
                <c:pt idx="2392" formatCode="0.00">
                  <c:v>7.27</c:v>
                </c:pt>
                <c:pt idx="2393" formatCode="0.00">
                  <c:v>6.91</c:v>
                </c:pt>
                <c:pt idx="2394" formatCode="0.00">
                  <c:v>6.91</c:v>
                </c:pt>
                <c:pt idx="2395" formatCode="0.00">
                  <c:v>6.9</c:v>
                </c:pt>
                <c:pt idx="2396" formatCode="0.00">
                  <c:v>6.89</c:v>
                </c:pt>
                <c:pt idx="2397" formatCode="0.00">
                  <c:v>6.89</c:v>
                </c:pt>
                <c:pt idx="2398" formatCode="0.00">
                  <c:v>6.89</c:v>
                </c:pt>
                <c:pt idx="2399" formatCode="0.00">
                  <c:v>6.9</c:v>
                </c:pt>
                <c:pt idx="2400" formatCode="0.00">
                  <c:v>6.89</c:v>
                </c:pt>
                <c:pt idx="2401" formatCode="0.00">
                  <c:v>6.89</c:v>
                </c:pt>
                <c:pt idx="2402" formatCode="0.00">
                  <c:v>6.9</c:v>
                </c:pt>
                <c:pt idx="2403" formatCode="0.00">
                  <c:v>6.89</c:v>
                </c:pt>
                <c:pt idx="2404" formatCode="0.00">
                  <c:v>6.89</c:v>
                </c:pt>
                <c:pt idx="2405" formatCode="0.00">
                  <c:v>6.89</c:v>
                </c:pt>
                <c:pt idx="2406" formatCode="0.00">
                  <c:v>6.88</c:v>
                </c:pt>
                <c:pt idx="2407" formatCode="0.00">
                  <c:v>6.88</c:v>
                </c:pt>
                <c:pt idx="2408" formatCode="0.00">
                  <c:v>6.88</c:v>
                </c:pt>
                <c:pt idx="2409" formatCode="0.00">
                  <c:v>6.88</c:v>
                </c:pt>
                <c:pt idx="2410" formatCode="0.00">
                  <c:v>6.86</c:v>
                </c:pt>
                <c:pt idx="2411" formatCode="0.00">
                  <c:v>6.85</c:v>
                </c:pt>
                <c:pt idx="2412" formatCode="0.00">
                  <c:v>6.85</c:v>
                </c:pt>
                <c:pt idx="2413" formatCode="0.00">
                  <c:v>6.83</c:v>
                </c:pt>
                <c:pt idx="2414" formatCode="0.00">
                  <c:v>6.83</c:v>
                </c:pt>
                <c:pt idx="2415" formatCode="0.00">
                  <c:v>6.83</c:v>
                </c:pt>
                <c:pt idx="2416" formatCode="0.00">
                  <c:v>6.76</c:v>
                </c:pt>
                <c:pt idx="2417" formatCode="0.00">
                  <c:v>6.43</c:v>
                </c:pt>
                <c:pt idx="2418" formatCode="0.00">
                  <c:v>6.43</c:v>
                </c:pt>
                <c:pt idx="2419" formatCode="0.00">
                  <c:v>6.43</c:v>
                </c:pt>
                <c:pt idx="2420" formatCode="0.00">
                  <c:v>6.43</c:v>
                </c:pt>
                <c:pt idx="2421" formatCode="0.00">
                  <c:v>6.43</c:v>
                </c:pt>
                <c:pt idx="2422" formatCode="0.00">
                  <c:v>6.42</c:v>
                </c:pt>
                <c:pt idx="2423" formatCode="0.00">
                  <c:v>6.42</c:v>
                </c:pt>
                <c:pt idx="2424" formatCode="0.00">
                  <c:v>6.42</c:v>
                </c:pt>
                <c:pt idx="2425" formatCode="0.00">
                  <c:v>6.42</c:v>
                </c:pt>
                <c:pt idx="2426" formatCode="0.00">
                  <c:v>6.43</c:v>
                </c:pt>
                <c:pt idx="2427" formatCode="0.00">
                  <c:v>6.41</c:v>
                </c:pt>
                <c:pt idx="2428" formatCode="0.00">
                  <c:v>6.41</c:v>
                </c:pt>
                <c:pt idx="2429" formatCode="0.00">
                  <c:v>6.41</c:v>
                </c:pt>
                <c:pt idx="2430" formatCode="0.00">
                  <c:v>6.41</c:v>
                </c:pt>
                <c:pt idx="2431" formatCode="0.00">
                  <c:v>6.42</c:v>
                </c:pt>
                <c:pt idx="2432" formatCode="0.00">
                  <c:v>6.42</c:v>
                </c:pt>
                <c:pt idx="2433" formatCode="0.00">
                  <c:v>6.42</c:v>
                </c:pt>
                <c:pt idx="2434" formatCode="0.00">
                  <c:v>6.42</c:v>
                </c:pt>
                <c:pt idx="2435" formatCode="0.00">
                  <c:v>6.42</c:v>
                </c:pt>
                <c:pt idx="2436" formatCode="0.00">
                  <c:v>6.42</c:v>
                </c:pt>
                <c:pt idx="2437" formatCode="0.00">
                  <c:v>6.41</c:v>
                </c:pt>
                <c:pt idx="2438" formatCode="0.00">
                  <c:v>6.2</c:v>
                </c:pt>
                <c:pt idx="2439" formatCode="0.00">
                  <c:v>6.2</c:v>
                </c:pt>
                <c:pt idx="2440" formatCode="0.00">
                  <c:v>6.18</c:v>
                </c:pt>
                <c:pt idx="2441" formatCode="0.00">
                  <c:v>6.18</c:v>
                </c:pt>
                <c:pt idx="2442" formatCode="0.00">
                  <c:v>6.18</c:v>
                </c:pt>
                <c:pt idx="2443" formatCode="0.00">
                  <c:v>6.18</c:v>
                </c:pt>
                <c:pt idx="2444" formatCode="0.00">
                  <c:v>6.18</c:v>
                </c:pt>
                <c:pt idx="2445" formatCode="0.00">
                  <c:v>6.17</c:v>
                </c:pt>
                <c:pt idx="2446" formatCode="0.00">
                  <c:v>6.16</c:v>
                </c:pt>
                <c:pt idx="2447" formatCode="0.00">
                  <c:v>6.16</c:v>
                </c:pt>
                <c:pt idx="2448" formatCode="0.00">
                  <c:v>6.17</c:v>
                </c:pt>
                <c:pt idx="2449" formatCode="0.00">
                  <c:v>6.16</c:v>
                </c:pt>
                <c:pt idx="2450" formatCode="0.00">
                  <c:v>6.16</c:v>
                </c:pt>
                <c:pt idx="2451" formatCode="0.00">
                  <c:v>6.15</c:v>
                </c:pt>
                <c:pt idx="2452" formatCode="0.00">
                  <c:v>6.15</c:v>
                </c:pt>
                <c:pt idx="2453" formatCode="0.00">
                  <c:v>6.15</c:v>
                </c:pt>
                <c:pt idx="2454" formatCode="0.00">
                  <c:v>6.14</c:v>
                </c:pt>
                <c:pt idx="2455" formatCode="0.00">
                  <c:v>6.15</c:v>
                </c:pt>
                <c:pt idx="2456" formatCode="0.00">
                  <c:v>6.15</c:v>
                </c:pt>
                <c:pt idx="2457" formatCode="0.00">
                  <c:v>6.13</c:v>
                </c:pt>
                <c:pt idx="2458" formatCode="0.00">
                  <c:v>6.07</c:v>
                </c:pt>
                <c:pt idx="2459" formatCode="0.00">
                  <c:v>5.99</c:v>
                </c:pt>
                <c:pt idx="2460" formatCode="0.00">
                  <c:v>5.99</c:v>
                </c:pt>
                <c:pt idx="2461" formatCode="0.00">
                  <c:v>5.99</c:v>
                </c:pt>
                <c:pt idx="2462" formatCode="0.00">
                  <c:v>6</c:v>
                </c:pt>
                <c:pt idx="2463" formatCode="0.00">
                  <c:v>6</c:v>
                </c:pt>
                <c:pt idx="2464" formatCode="0.00">
                  <c:v>5.99</c:v>
                </c:pt>
                <c:pt idx="2465" formatCode="0.00">
                  <c:v>6</c:v>
                </c:pt>
                <c:pt idx="2466" formatCode="0.00">
                  <c:v>5.99</c:v>
                </c:pt>
                <c:pt idx="2467" formatCode="0.00">
                  <c:v>5.99</c:v>
                </c:pt>
                <c:pt idx="2468" formatCode="0.00">
                  <c:v>5.99</c:v>
                </c:pt>
                <c:pt idx="2469" formatCode="0.00">
                  <c:v>5.99</c:v>
                </c:pt>
                <c:pt idx="2470" formatCode="0.00">
                  <c:v>5.99</c:v>
                </c:pt>
                <c:pt idx="2471" formatCode="0.00">
                  <c:v>5.99</c:v>
                </c:pt>
                <c:pt idx="2472" formatCode="0.00">
                  <c:v>5.99</c:v>
                </c:pt>
                <c:pt idx="2473" formatCode="0.00">
                  <c:v>5.99</c:v>
                </c:pt>
                <c:pt idx="2474" formatCode="0.00">
                  <c:v>5.95</c:v>
                </c:pt>
                <c:pt idx="2475" formatCode="0.00">
                  <c:v>5.95</c:v>
                </c:pt>
                <c:pt idx="2476" formatCode="0.00">
                  <c:v>5.93</c:v>
                </c:pt>
                <c:pt idx="2477" formatCode="0.00">
                  <c:v>5.93</c:v>
                </c:pt>
                <c:pt idx="2478" formatCode="0.00">
                  <c:v>5.89</c:v>
                </c:pt>
                <c:pt idx="2479" formatCode="0.00">
                  <c:v>5.78</c:v>
                </c:pt>
                <c:pt idx="2480" formatCode="0.00">
                  <c:v>5.78</c:v>
                </c:pt>
                <c:pt idx="2481" formatCode="0.00">
                  <c:v>5.77</c:v>
                </c:pt>
                <c:pt idx="2482" formatCode="0.00">
                  <c:v>5.77</c:v>
                </c:pt>
                <c:pt idx="2483" formatCode="0.00">
                  <c:v>5.77</c:v>
                </c:pt>
                <c:pt idx="2484" formatCode="0.00">
                  <c:v>5.76</c:v>
                </c:pt>
                <c:pt idx="2485" formatCode="0.00">
                  <c:v>5.76</c:v>
                </c:pt>
                <c:pt idx="2486" formatCode="0.00">
                  <c:v>5.75</c:v>
                </c:pt>
                <c:pt idx="2487" formatCode="0.00">
                  <c:v>5.75</c:v>
                </c:pt>
                <c:pt idx="2488" formatCode="0.00">
                  <c:v>5.75</c:v>
                </c:pt>
                <c:pt idx="2489" formatCode="0.00">
                  <c:v>5.75</c:v>
                </c:pt>
                <c:pt idx="2490" formatCode="0.00">
                  <c:v>5.75</c:v>
                </c:pt>
                <c:pt idx="2491" formatCode="0.00">
                  <c:v>5.74</c:v>
                </c:pt>
                <c:pt idx="2492" formatCode="0.00">
                  <c:v>5.72</c:v>
                </c:pt>
                <c:pt idx="2493" formatCode="0.00">
                  <c:v>5.72</c:v>
                </c:pt>
                <c:pt idx="2494" formatCode="0.00">
                  <c:v>5.72</c:v>
                </c:pt>
                <c:pt idx="2495" formatCode="0.00">
                  <c:v>5.72</c:v>
                </c:pt>
                <c:pt idx="2496" formatCode="0.00">
                  <c:v>5.71</c:v>
                </c:pt>
                <c:pt idx="2497" formatCode="0.00">
                  <c:v>5.71</c:v>
                </c:pt>
                <c:pt idx="2498" formatCode="0.00">
                  <c:v>5.7</c:v>
                </c:pt>
                <c:pt idx="2499" formatCode="0.00">
                  <c:v>5.69</c:v>
                </c:pt>
                <c:pt idx="2500" formatCode="0.00">
                  <c:v>5.68</c:v>
                </c:pt>
                <c:pt idx="2501" formatCode="0.00">
                  <c:v>5.67</c:v>
                </c:pt>
                <c:pt idx="2502" formatCode="0.00">
                  <c:v>5.67</c:v>
                </c:pt>
                <c:pt idx="2503" formatCode="0.00">
                  <c:v>5.49</c:v>
                </c:pt>
                <c:pt idx="2504" formatCode="0.00">
                  <c:v>5.48</c:v>
                </c:pt>
                <c:pt idx="2505" formatCode="0.00">
                  <c:v>5.48</c:v>
                </c:pt>
                <c:pt idx="2506" formatCode="0.00">
                  <c:v>5.47</c:v>
                </c:pt>
                <c:pt idx="2507" formatCode="0.00">
                  <c:v>5.47</c:v>
                </c:pt>
                <c:pt idx="2508" formatCode="0.00">
                  <c:v>5.47</c:v>
                </c:pt>
                <c:pt idx="2509" formatCode="0.00">
                  <c:v>5.46</c:v>
                </c:pt>
                <c:pt idx="2510" formatCode="0.00">
                  <c:v>5.46</c:v>
                </c:pt>
                <c:pt idx="2511" formatCode="0.00">
                  <c:v>5.46</c:v>
                </c:pt>
                <c:pt idx="2512" formatCode="0.00">
                  <c:v>5.45</c:v>
                </c:pt>
                <c:pt idx="2513" formatCode="0.00">
                  <c:v>5.44</c:v>
                </c:pt>
                <c:pt idx="2514" formatCode="0.00">
                  <c:v>5.44</c:v>
                </c:pt>
                <c:pt idx="2515" formatCode="0.00">
                  <c:v>5.42</c:v>
                </c:pt>
                <c:pt idx="2516" formatCode="0.00">
                  <c:v>5.42</c:v>
                </c:pt>
                <c:pt idx="2517" formatCode="0.00">
                  <c:v>5.42</c:v>
                </c:pt>
                <c:pt idx="2518" formatCode="0.00">
                  <c:v>5.42</c:v>
                </c:pt>
                <c:pt idx="2519" formatCode="0.00">
                  <c:v>5.42</c:v>
                </c:pt>
                <c:pt idx="2520" formatCode="0.00">
                  <c:v>5.42</c:v>
                </c:pt>
                <c:pt idx="2521" formatCode="0.00">
                  <c:v>5.38</c:v>
                </c:pt>
                <c:pt idx="2522" formatCode="0.00">
                  <c:v>5.24</c:v>
                </c:pt>
                <c:pt idx="2523" formatCode="0.00">
                  <c:v>5.24</c:v>
                </c:pt>
                <c:pt idx="2524" formatCode="0.00">
                  <c:v>5.23</c:v>
                </c:pt>
                <c:pt idx="2525" formatCode="0.00">
                  <c:v>5.24</c:v>
                </c:pt>
                <c:pt idx="2526" formatCode="0.00">
                  <c:v>5.24</c:v>
                </c:pt>
                <c:pt idx="2527" formatCode="0.00">
                  <c:v>5.23</c:v>
                </c:pt>
                <c:pt idx="2528" formatCode="0.00">
                  <c:v>5.23</c:v>
                </c:pt>
                <c:pt idx="2529" formatCode="0.00">
                  <c:v>5.24</c:v>
                </c:pt>
                <c:pt idx="2530" formatCode="0.00">
                  <c:v>5.26</c:v>
                </c:pt>
                <c:pt idx="2531" formatCode="0.00">
                  <c:v>5.24</c:v>
                </c:pt>
                <c:pt idx="2532" formatCode="0.00">
                  <c:v>5.24</c:v>
                </c:pt>
                <c:pt idx="2533" formatCode="0.00">
                  <c:v>5.23</c:v>
                </c:pt>
                <c:pt idx="2534" formatCode="0.00">
                  <c:v>5.23</c:v>
                </c:pt>
                <c:pt idx="2535" formatCode="0.00">
                  <c:v>5.23</c:v>
                </c:pt>
                <c:pt idx="2536" formatCode="0.00">
                  <c:v>5.23</c:v>
                </c:pt>
                <c:pt idx="2537" formatCode="0.00">
                  <c:v>5.23</c:v>
                </c:pt>
                <c:pt idx="2538" formatCode="0.00">
                  <c:v>5.23</c:v>
                </c:pt>
                <c:pt idx="2539" formatCode="0.00">
                  <c:v>5.23</c:v>
                </c:pt>
                <c:pt idx="2540" formatCode="0.00">
                  <c:v>5.23</c:v>
                </c:pt>
                <c:pt idx="2541" formatCode="0.00">
                  <c:v>5.23</c:v>
                </c:pt>
                <c:pt idx="2542" formatCode="0.00">
                  <c:v>5.23</c:v>
                </c:pt>
                <c:pt idx="2543" formatCode="0.00">
                  <c:v>5.23</c:v>
                </c:pt>
                <c:pt idx="2544" formatCode="0.00">
                  <c:v>5.21</c:v>
                </c:pt>
                <c:pt idx="2545" formatCode="0.00">
                  <c:v>5.21</c:v>
                </c:pt>
                <c:pt idx="2546" formatCode="0.00">
                  <c:v>5.23</c:v>
                </c:pt>
                <c:pt idx="2547" formatCode="0.00">
                  <c:v>5.23</c:v>
                </c:pt>
                <c:pt idx="2548" formatCode="0.00">
                  <c:v>5.23</c:v>
                </c:pt>
                <c:pt idx="2549" formatCode="0.00">
                  <c:v>5.23</c:v>
                </c:pt>
                <c:pt idx="2550" formatCode="0.00">
                  <c:v>5.24</c:v>
                </c:pt>
                <c:pt idx="2551" formatCode="0.00">
                  <c:v>5.25</c:v>
                </c:pt>
                <c:pt idx="2552" formatCode="0.00">
                  <c:v>5.24</c:v>
                </c:pt>
                <c:pt idx="2553" formatCode="0.00">
                  <c:v>5.25</c:v>
                </c:pt>
                <c:pt idx="2554" formatCode="0.00">
                  <c:v>5.25</c:v>
                </c:pt>
                <c:pt idx="2555" formatCode="0.00">
                  <c:v>5.25</c:v>
                </c:pt>
                <c:pt idx="2556" formatCode="0.00">
                  <c:v>5.24</c:v>
                </c:pt>
                <c:pt idx="2557" formatCode="0.00">
                  <c:v>5.25</c:v>
                </c:pt>
                <c:pt idx="2558" formatCode="0.00">
                  <c:v>5.25</c:v>
                </c:pt>
                <c:pt idx="2559" formatCode="0.00">
                  <c:v>5.25</c:v>
                </c:pt>
                <c:pt idx="2560" formatCode="0.00">
                  <c:v>5.25</c:v>
                </c:pt>
                <c:pt idx="2561" formatCode="0.00">
                  <c:v>5.25</c:v>
                </c:pt>
                <c:pt idx="2562" formatCode="0.00">
                  <c:v>5.25</c:v>
                </c:pt>
                <c:pt idx="2563" formatCode="0.00">
                  <c:v>5.25</c:v>
                </c:pt>
                <c:pt idx="2564" formatCode="0.00">
                  <c:v>5.25</c:v>
                </c:pt>
                <c:pt idx="2565" formatCode="0.00">
                  <c:v>5.25</c:v>
                </c:pt>
                <c:pt idx="2566" formatCode="0.00">
                  <c:v>5.26</c:v>
                </c:pt>
                <c:pt idx="2567" formatCode="0.00">
                  <c:v>5.28</c:v>
                </c:pt>
                <c:pt idx="2568" formatCode="0.00">
                  <c:v>5.28</c:v>
                </c:pt>
                <c:pt idx="2569" formatCode="0.00">
                  <c:v>5.27</c:v>
                </c:pt>
                <c:pt idx="2570" formatCode="0.00">
                  <c:v>5.26</c:v>
                </c:pt>
                <c:pt idx="2571" formatCode="0.00">
                  <c:v>5.26</c:v>
                </c:pt>
                <c:pt idx="2572" formatCode="0.00">
                  <c:v>5.26</c:v>
                </c:pt>
                <c:pt idx="2573" formatCode="0.00">
                  <c:v>5.27</c:v>
                </c:pt>
                <c:pt idx="2574" formatCode="0.00">
                  <c:v>5.26</c:v>
                </c:pt>
                <c:pt idx="2575" formatCode="0.00">
                  <c:v>5.27</c:v>
                </c:pt>
                <c:pt idx="2576" formatCode="0.00">
                  <c:v>5.27</c:v>
                </c:pt>
                <c:pt idx="2577" formatCode="0.00">
                  <c:v>5.27</c:v>
                </c:pt>
                <c:pt idx="2578" formatCode="0.00">
                  <c:v>5.27</c:v>
                </c:pt>
                <c:pt idx="2579" formatCode="0.00">
                  <c:v>5.27</c:v>
                </c:pt>
                <c:pt idx="2580" formatCode="0.00">
                  <c:v>5.3</c:v>
                </c:pt>
                <c:pt idx="2581" formatCode="0.00">
                  <c:v>5.33</c:v>
                </c:pt>
                <c:pt idx="2582" formatCode="0.00">
                  <c:v>5.32</c:v>
                </c:pt>
                <c:pt idx="2583" formatCode="0.00">
                  <c:v>5.31</c:v>
                </c:pt>
                <c:pt idx="2584" formatCode="0.00">
                  <c:v>5.32</c:v>
                </c:pt>
                <c:pt idx="2585" formatCode="0.00">
                  <c:v>5.32</c:v>
                </c:pt>
                <c:pt idx="2586" formatCode="0.00">
                  <c:v>5.32</c:v>
                </c:pt>
                <c:pt idx="2587" formatCode="0.00">
                  <c:v>5.32</c:v>
                </c:pt>
                <c:pt idx="2588" formatCode="0.00">
                  <c:v>5.32</c:v>
                </c:pt>
                <c:pt idx="2589" formatCode="0.00">
                  <c:v>5.32</c:v>
                </c:pt>
                <c:pt idx="2590" formatCode="0.00">
                  <c:v>5.32</c:v>
                </c:pt>
                <c:pt idx="2591" formatCode="0.00">
                  <c:v>5.33</c:v>
                </c:pt>
                <c:pt idx="2592" formatCode="0.00">
                  <c:v>5.33</c:v>
                </c:pt>
                <c:pt idx="2593" formatCode="0.00">
                  <c:v>5.33</c:v>
                </c:pt>
                <c:pt idx="2594" formatCode="0.00">
                  <c:v>5.33</c:v>
                </c:pt>
                <c:pt idx="2595" formatCode="0.00">
                  <c:v>5.33</c:v>
                </c:pt>
                <c:pt idx="2596" formatCode="0.00">
                  <c:v>5.33</c:v>
                </c:pt>
                <c:pt idx="2597" formatCode="0.00">
                  <c:v>5.33</c:v>
                </c:pt>
                <c:pt idx="2598" formatCode="0.00">
                  <c:v>5.33</c:v>
                </c:pt>
                <c:pt idx="2599" formatCode="0.00">
                  <c:v>5.33</c:v>
                </c:pt>
                <c:pt idx="2600" formatCode="0.00">
                  <c:v>5.34</c:v>
                </c:pt>
                <c:pt idx="2601" formatCode="0.00">
                  <c:v>5.34</c:v>
                </c:pt>
                <c:pt idx="2602" formatCode="0.00">
                  <c:v>5.33</c:v>
                </c:pt>
                <c:pt idx="2603" formatCode="0.00">
                  <c:v>5.33</c:v>
                </c:pt>
                <c:pt idx="2604" formatCode="0.00">
                  <c:v>5.33</c:v>
                </c:pt>
                <c:pt idx="2605" formatCode="0.00">
                  <c:v>5.34</c:v>
                </c:pt>
                <c:pt idx="2606" formatCode="0.00">
                  <c:v>5.34</c:v>
                </c:pt>
                <c:pt idx="2607" formatCode="0.00">
                  <c:v>5.34</c:v>
                </c:pt>
                <c:pt idx="2608" formatCode="0.00">
                  <c:v>5.35</c:v>
                </c:pt>
                <c:pt idx="2609" formatCode="0.00">
                  <c:v>5.36</c:v>
                </c:pt>
                <c:pt idx="2610" formatCode="0.00">
                  <c:v>5.36</c:v>
                </c:pt>
                <c:pt idx="2611" formatCode="0.00">
                  <c:v>5.36</c:v>
                </c:pt>
                <c:pt idx="2612" formatCode="0.00">
                  <c:v>5.36</c:v>
                </c:pt>
                <c:pt idx="2613" formatCode="0.00">
                  <c:v>5.36</c:v>
                </c:pt>
                <c:pt idx="2614" formatCode="0.00">
                  <c:v>5.36</c:v>
                </c:pt>
                <c:pt idx="2615" formatCode="0.00">
                  <c:v>5.36</c:v>
                </c:pt>
                <c:pt idx="2616" formatCode="0.00">
                  <c:v>5.37</c:v>
                </c:pt>
                <c:pt idx="2617" formatCode="0.00">
                  <c:v>5.38</c:v>
                </c:pt>
                <c:pt idx="2618" formatCode="0.00">
                  <c:v>5.37</c:v>
                </c:pt>
                <c:pt idx="2619" formatCode="0.00">
                  <c:v>5.37</c:v>
                </c:pt>
                <c:pt idx="2620" formatCode="0.00">
                  <c:v>5.37</c:v>
                </c:pt>
                <c:pt idx="2621" formatCode="0.00">
                  <c:v>5.38</c:v>
                </c:pt>
                <c:pt idx="2622" formatCode="0.00">
                  <c:v>5.38</c:v>
                </c:pt>
                <c:pt idx="2623" formatCode="0.00">
                  <c:v>5.38</c:v>
                </c:pt>
                <c:pt idx="2624" formatCode="0.00">
                  <c:v>5.38</c:v>
                </c:pt>
                <c:pt idx="2625" formatCode="0.00">
                  <c:v>5.38</c:v>
                </c:pt>
                <c:pt idx="2626" formatCode="0.00">
                  <c:v>5.38</c:v>
                </c:pt>
                <c:pt idx="2627" formatCode="0.00">
                  <c:v>5.37</c:v>
                </c:pt>
                <c:pt idx="2628" formatCode="0.00">
                  <c:v>5.37</c:v>
                </c:pt>
                <c:pt idx="2629" formatCode="0.00">
                  <c:v>5.38</c:v>
                </c:pt>
                <c:pt idx="2630" formatCode="0.00">
                  <c:v>5.37</c:v>
                </c:pt>
                <c:pt idx="2631" formatCode="0.00">
                  <c:v>5.37</c:v>
                </c:pt>
                <c:pt idx="2632" formatCode="0.00">
                  <c:v>5.37</c:v>
                </c:pt>
                <c:pt idx="2633" formatCode="0.00">
                  <c:v>5.36</c:v>
                </c:pt>
                <c:pt idx="2634" formatCode="0.00">
                  <c:v>5.36</c:v>
                </c:pt>
                <c:pt idx="2635" formatCode="0.00">
                  <c:v>5.35</c:v>
                </c:pt>
                <c:pt idx="2636" formatCode="0.00">
                  <c:v>5.35</c:v>
                </c:pt>
                <c:pt idx="2637" formatCode="0.00">
                  <c:v>5.35</c:v>
                </c:pt>
                <c:pt idx="2638" formatCode="0.00">
                  <c:v>5.35</c:v>
                </c:pt>
                <c:pt idx="2639" formatCode="0.00">
                  <c:v>5.35</c:v>
                </c:pt>
                <c:pt idx="2640" formatCode="0.00">
                  <c:v>5.35</c:v>
                </c:pt>
                <c:pt idx="2641" formatCode="0.00">
                  <c:v>5.35</c:v>
                </c:pt>
                <c:pt idx="2642" formatCode="0.00">
                  <c:v>5.35</c:v>
                </c:pt>
                <c:pt idx="2643" formatCode="0.00">
                  <c:v>5.35</c:v>
                </c:pt>
                <c:pt idx="2644" formatCode="0.00">
                  <c:v>5.35</c:v>
                </c:pt>
                <c:pt idx="2645" formatCode="0.00">
                  <c:v>5.35</c:v>
                </c:pt>
                <c:pt idx="2646" formatCode="0.00">
                  <c:v>5.35</c:v>
                </c:pt>
                <c:pt idx="2647" formatCode="0.00">
                  <c:v>5.35</c:v>
                </c:pt>
                <c:pt idx="2648" formatCode="0.00">
                  <c:v>5.35</c:v>
                </c:pt>
                <c:pt idx="2649" formatCode="0.00">
                  <c:v>5.35</c:v>
                </c:pt>
                <c:pt idx="2650" formatCode="0.00">
                  <c:v>5.35</c:v>
                </c:pt>
                <c:pt idx="2651" formatCode="0.00">
                  <c:v>5.35</c:v>
                </c:pt>
                <c:pt idx="2652" formatCode="0.00">
                  <c:v>5.35</c:v>
                </c:pt>
                <c:pt idx="2653" formatCode="0.00">
                  <c:v>5.35</c:v>
                </c:pt>
                <c:pt idx="2654" formatCode="0.00">
                  <c:v>5.35</c:v>
                </c:pt>
                <c:pt idx="2655" formatCode="0.00">
                  <c:v>5.35</c:v>
                </c:pt>
                <c:pt idx="2656" formatCode="0.00">
                  <c:v>5.35</c:v>
                </c:pt>
                <c:pt idx="2657" formatCode="0.00">
                  <c:v>5.35</c:v>
                </c:pt>
                <c:pt idx="2658" formatCode="0.00">
                  <c:v>5.35</c:v>
                </c:pt>
                <c:pt idx="2659" formatCode="0.00">
                  <c:v>5.35</c:v>
                </c:pt>
                <c:pt idx="2660" formatCode="0.00">
                  <c:v>5.35</c:v>
                </c:pt>
                <c:pt idx="2661" formatCode="0.00">
                  <c:v>5.35</c:v>
                </c:pt>
                <c:pt idx="2662" formatCode="0.00">
                  <c:v>5.36</c:v>
                </c:pt>
                <c:pt idx="2663" formatCode="0.00">
                  <c:v>5.37</c:v>
                </c:pt>
                <c:pt idx="2664" formatCode="0.00">
                  <c:v>5.37</c:v>
                </c:pt>
                <c:pt idx="2665" formatCode="0.00">
                  <c:v>5.37</c:v>
                </c:pt>
                <c:pt idx="2666" formatCode="0.00">
                  <c:v>5.36</c:v>
                </c:pt>
                <c:pt idx="2667" formatCode="0.00">
                  <c:v>5.37</c:v>
                </c:pt>
                <c:pt idx="2668" formatCode="0.00">
                  <c:v>5.37</c:v>
                </c:pt>
                <c:pt idx="2669" formatCode="0.00">
                  <c:v>5.37</c:v>
                </c:pt>
                <c:pt idx="2670" formatCode="0.00">
                  <c:v>5.36</c:v>
                </c:pt>
                <c:pt idx="2671" formatCode="0.00">
                  <c:v>5.36</c:v>
                </c:pt>
                <c:pt idx="2672" formatCode="0.00">
                  <c:v>5.37</c:v>
                </c:pt>
                <c:pt idx="2673" formatCode="0.00">
                  <c:v>5.37</c:v>
                </c:pt>
                <c:pt idx="2674" formatCode="0.00">
                  <c:v>5.6</c:v>
                </c:pt>
                <c:pt idx="2675" formatCode="0.00">
                  <c:v>5.6</c:v>
                </c:pt>
                <c:pt idx="2676" formatCode="0.00">
                  <c:v>5.61</c:v>
                </c:pt>
                <c:pt idx="2677" formatCode="0.00">
                  <c:v>5.61</c:v>
                </c:pt>
                <c:pt idx="2678" formatCode="0.00">
                  <c:v>5.61</c:v>
                </c:pt>
                <c:pt idx="2679" formatCode="0.00">
                  <c:v>5.61</c:v>
                </c:pt>
                <c:pt idx="2680" formatCode="0.00">
                  <c:v>5.61</c:v>
                </c:pt>
                <c:pt idx="2681" formatCode="0.00">
                  <c:v>5.61</c:v>
                </c:pt>
                <c:pt idx="2682" formatCode="0.00">
                  <c:v>5.61</c:v>
                </c:pt>
                <c:pt idx="2683" formatCode="0.00">
                  <c:v>5.61</c:v>
                </c:pt>
                <c:pt idx="2684" formatCode="0.00">
                  <c:v>5.62</c:v>
                </c:pt>
                <c:pt idx="2685" formatCode="0.00">
                  <c:v>5.63</c:v>
                </c:pt>
                <c:pt idx="2686" formatCode="0.00">
                  <c:v>5.63</c:v>
                </c:pt>
                <c:pt idx="2687" formatCode="0.00">
                  <c:v>5.63</c:v>
                </c:pt>
                <c:pt idx="2688" formatCode="0.00">
                  <c:v>5.62</c:v>
                </c:pt>
                <c:pt idx="2689" formatCode="0.00">
                  <c:v>5.61</c:v>
                </c:pt>
                <c:pt idx="2690" formatCode="0.00">
                  <c:v>5.82</c:v>
                </c:pt>
                <c:pt idx="2691" formatCode="0.00">
                  <c:v>5.82</c:v>
                </c:pt>
                <c:pt idx="2692" formatCode="0.00">
                  <c:v>5.83</c:v>
                </c:pt>
                <c:pt idx="2693" formatCode="0.00">
                  <c:v>5.84</c:v>
                </c:pt>
                <c:pt idx="2694" formatCode="0.00">
                  <c:v>5.84</c:v>
                </c:pt>
                <c:pt idx="2695" formatCode="0.00">
                  <c:v>5.85</c:v>
                </c:pt>
                <c:pt idx="2696" formatCode="0.00">
                  <c:v>5.85</c:v>
                </c:pt>
                <c:pt idx="2697" formatCode="0.00">
                  <c:v>5.85</c:v>
                </c:pt>
                <c:pt idx="2698" formatCode="0.00">
                  <c:v>5.85</c:v>
                </c:pt>
                <c:pt idx="2699" formatCode="0.00">
                  <c:v>5.85</c:v>
                </c:pt>
                <c:pt idx="2700" formatCode="0.00">
                  <c:v>5.85</c:v>
                </c:pt>
                <c:pt idx="2701" formatCode="0.00">
                  <c:v>5.84</c:v>
                </c:pt>
                <c:pt idx="2702" formatCode="0.00">
                  <c:v>5.84</c:v>
                </c:pt>
                <c:pt idx="2703" formatCode="0.00">
                  <c:v>5.84</c:v>
                </c:pt>
                <c:pt idx="2704" formatCode="0.00">
                  <c:v>5.84</c:v>
                </c:pt>
                <c:pt idx="2705" formatCode="0.00">
                  <c:v>5.85</c:v>
                </c:pt>
                <c:pt idx="2706" formatCode="0.00">
                  <c:v>5.84</c:v>
                </c:pt>
                <c:pt idx="2707" formatCode="0.00">
                  <c:v>5.85</c:v>
                </c:pt>
                <c:pt idx="2708" formatCode="0.00">
                  <c:v>5.85</c:v>
                </c:pt>
                <c:pt idx="2709" formatCode="0.00">
                  <c:v>5.85</c:v>
                </c:pt>
                <c:pt idx="2710" formatCode="0.00">
                  <c:v>5.84</c:v>
                </c:pt>
                <c:pt idx="2711" formatCode="0.00">
                  <c:v>5.84</c:v>
                </c:pt>
                <c:pt idx="2712" formatCode="0.00">
                  <c:v>5.84</c:v>
                </c:pt>
                <c:pt idx="2713" formatCode="0.00">
                  <c:v>5.84</c:v>
                </c:pt>
                <c:pt idx="2714" formatCode="0.00">
                  <c:v>6.08</c:v>
                </c:pt>
                <c:pt idx="2715" formatCode="0.00">
                  <c:v>6.08</c:v>
                </c:pt>
                <c:pt idx="2716" formatCode="0.00">
                  <c:v>6.09</c:v>
                </c:pt>
                <c:pt idx="2717" formatCode="0.00">
                  <c:v>6.08</c:v>
                </c:pt>
                <c:pt idx="2718" formatCode="0.00">
                  <c:v>6.08</c:v>
                </c:pt>
                <c:pt idx="2719" formatCode="0.00">
                  <c:v>6.08</c:v>
                </c:pt>
                <c:pt idx="2720" formatCode="0.00">
                  <c:v>6.08</c:v>
                </c:pt>
                <c:pt idx="2721" formatCode="0.00">
                  <c:v>6.08</c:v>
                </c:pt>
                <c:pt idx="2722" formatCode="0.00">
                  <c:v>6.08</c:v>
                </c:pt>
                <c:pt idx="2723" formatCode="0.00">
                  <c:v>6.09</c:v>
                </c:pt>
                <c:pt idx="2724" formatCode="0.00">
                  <c:v>6.08</c:v>
                </c:pt>
                <c:pt idx="2725" formatCode="0.00">
                  <c:v>6.1</c:v>
                </c:pt>
                <c:pt idx="2726" formatCode="0.00">
                  <c:v>6.1</c:v>
                </c:pt>
                <c:pt idx="2727" formatCode="0.00">
                  <c:v>6.1</c:v>
                </c:pt>
                <c:pt idx="2728" formatCode="0.00">
                  <c:v>6.1</c:v>
                </c:pt>
                <c:pt idx="2729" formatCode="0.00">
                  <c:v>6.09</c:v>
                </c:pt>
                <c:pt idx="2730" formatCode="0.00">
                  <c:v>6.1</c:v>
                </c:pt>
                <c:pt idx="2731" formatCode="0.00">
                  <c:v>6.1</c:v>
                </c:pt>
                <c:pt idx="2732" formatCode="0.00">
                  <c:v>6.1</c:v>
                </c:pt>
                <c:pt idx="2733" formatCode="0.00">
                  <c:v>6.1</c:v>
                </c:pt>
                <c:pt idx="2734" formatCode="0.00">
                  <c:v>6.1</c:v>
                </c:pt>
                <c:pt idx="2735" formatCode="0.00">
                  <c:v>6.1</c:v>
                </c:pt>
                <c:pt idx="2736" formatCode="0.00">
                  <c:v>6.09</c:v>
                </c:pt>
                <c:pt idx="2737" formatCode="0.00">
                  <c:v>6.1</c:v>
                </c:pt>
                <c:pt idx="2738" formatCode="0.00">
                  <c:v>6.1</c:v>
                </c:pt>
                <c:pt idx="2739" formatCode="0.00">
                  <c:v>6.09</c:v>
                </c:pt>
                <c:pt idx="2740" formatCode="0.00">
                  <c:v>6.09</c:v>
                </c:pt>
                <c:pt idx="2741" formatCode="0.00">
                  <c:v>6.1</c:v>
                </c:pt>
                <c:pt idx="2742" formatCode="0.00">
                  <c:v>6.1</c:v>
                </c:pt>
                <c:pt idx="2743" formatCode="0.00">
                  <c:v>6.1</c:v>
                </c:pt>
                <c:pt idx="2744" formatCode="0.00">
                  <c:v>6.1</c:v>
                </c:pt>
                <c:pt idx="2745" formatCode="0.00">
                  <c:v>6.1</c:v>
                </c:pt>
                <c:pt idx="2746" formatCode="0.00">
                  <c:v>6.1</c:v>
                </c:pt>
                <c:pt idx="2747" formatCode="0.00">
                  <c:v>6.1</c:v>
                </c:pt>
                <c:pt idx="2748" formatCode="0.00">
                  <c:v>6.1</c:v>
                </c:pt>
                <c:pt idx="2749" formatCode="0.00">
                  <c:v>6.1</c:v>
                </c:pt>
                <c:pt idx="2750" formatCode="0.00">
                  <c:v>6.1</c:v>
                </c:pt>
                <c:pt idx="2751" formatCode="0.00">
                  <c:v>6.1</c:v>
                </c:pt>
                <c:pt idx="2752" formatCode="0.00">
                  <c:v>6.1</c:v>
                </c:pt>
                <c:pt idx="2753" formatCode="0.00">
                  <c:v>6.09</c:v>
                </c:pt>
                <c:pt idx="2754" formatCode="0.00">
                  <c:v>6.1</c:v>
                </c:pt>
                <c:pt idx="2755" formatCode="0.00">
                  <c:v>6.09</c:v>
                </c:pt>
                <c:pt idx="2756" formatCode="0.00">
                  <c:v>6.1</c:v>
                </c:pt>
                <c:pt idx="2757" formatCode="0.00">
                  <c:v>6.1</c:v>
                </c:pt>
                <c:pt idx="2758" formatCode="0.00">
                  <c:v>6.1</c:v>
                </c:pt>
                <c:pt idx="2759" formatCode="0.00">
                  <c:v>6.1</c:v>
                </c:pt>
                <c:pt idx="2760" formatCode="0.00">
                  <c:v>6.1</c:v>
                </c:pt>
                <c:pt idx="2761" formatCode="0.00">
                  <c:v>6.1</c:v>
                </c:pt>
                <c:pt idx="2762" formatCode="0.00">
                  <c:v>6.1</c:v>
                </c:pt>
                <c:pt idx="2763" formatCode="0.00">
                  <c:v>6.1</c:v>
                </c:pt>
                <c:pt idx="2764" formatCode="0.00">
                  <c:v>6.1</c:v>
                </c:pt>
                <c:pt idx="2765" formatCode="0.00">
                  <c:v>6.1</c:v>
                </c:pt>
                <c:pt idx="2766" formatCode="0.00">
                  <c:v>6.1</c:v>
                </c:pt>
                <c:pt idx="2767" formatCode="0.00">
                  <c:v>6.1</c:v>
                </c:pt>
                <c:pt idx="2768" formatCode="0.00">
                  <c:v>6.1</c:v>
                </c:pt>
                <c:pt idx="2769" formatCode="0.00">
                  <c:v>6.1</c:v>
                </c:pt>
                <c:pt idx="2770" formatCode="0.00">
                  <c:v>6.1</c:v>
                </c:pt>
                <c:pt idx="2771" formatCode="0.00">
                  <c:v>6.1</c:v>
                </c:pt>
                <c:pt idx="2772" formatCode="0.00">
                  <c:v>6.1</c:v>
                </c:pt>
                <c:pt idx="2773" formatCode="0.00">
                  <c:v>6.1</c:v>
                </c:pt>
                <c:pt idx="2774" formatCode="0.00">
                  <c:v>6.1</c:v>
                </c:pt>
                <c:pt idx="2775" formatCode="0.00">
                  <c:v>6.1</c:v>
                </c:pt>
                <c:pt idx="2776" formatCode="0.00">
                  <c:v>6.1</c:v>
                </c:pt>
                <c:pt idx="2777" formatCode="0.00">
                  <c:v>6.1</c:v>
                </c:pt>
                <c:pt idx="2778" formatCode="0.00">
                  <c:v>6.1</c:v>
                </c:pt>
                <c:pt idx="2779" formatCode="0.00">
                  <c:v>6.1</c:v>
                </c:pt>
                <c:pt idx="2780" formatCode="0.00">
                  <c:v>6.1</c:v>
                </c:pt>
                <c:pt idx="2781" formatCode="0.00">
                  <c:v>6.1</c:v>
                </c:pt>
                <c:pt idx="2782" formatCode="0.00">
                  <c:v>6.1</c:v>
                </c:pt>
                <c:pt idx="2783" formatCode="0.00">
                  <c:v>6.1</c:v>
                </c:pt>
                <c:pt idx="2784" formatCode="0.00">
                  <c:v>6.1</c:v>
                </c:pt>
                <c:pt idx="2785" formatCode="0.00">
                  <c:v>6.1</c:v>
                </c:pt>
                <c:pt idx="2786" formatCode="0.00">
                  <c:v>6.1</c:v>
                </c:pt>
                <c:pt idx="2787" formatCode="0.00">
                  <c:v>6.1</c:v>
                </c:pt>
                <c:pt idx="2788" formatCode="0.00">
                  <c:v>6.1</c:v>
                </c:pt>
                <c:pt idx="2789" formatCode="0.00">
                  <c:v>6.1</c:v>
                </c:pt>
                <c:pt idx="2790" formatCode="0.00">
                  <c:v>6.1</c:v>
                </c:pt>
                <c:pt idx="2791" formatCode="0.00">
                  <c:v>6.1</c:v>
                </c:pt>
                <c:pt idx="2792" formatCode="0.00">
                  <c:v>6.1</c:v>
                </c:pt>
                <c:pt idx="2793" formatCode="0.00">
                  <c:v>6.1</c:v>
                </c:pt>
                <c:pt idx="2794" formatCode="0.00">
                  <c:v>6.1</c:v>
                </c:pt>
                <c:pt idx="2795" formatCode="0.00">
                  <c:v>6.1</c:v>
                </c:pt>
                <c:pt idx="2796" formatCode="0.00">
                  <c:v>6.1</c:v>
                </c:pt>
                <c:pt idx="2797" formatCode="0.00">
                  <c:v>6.1</c:v>
                </c:pt>
                <c:pt idx="2798" formatCode="0.00">
                  <c:v>6.1</c:v>
                </c:pt>
                <c:pt idx="2799" formatCode="0.00">
                  <c:v>6.1</c:v>
                </c:pt>
                <c:pt idx="2800" formatCode="0.00">
                  <c:v>6.1</c:v>
                </c:pt>
                <c:pt idx="2801" formatCode="0.00">
                  <c:v>6.1</c:v>
                </c:pt>
                <c:pt idx="2802" formatCode="0.00">
                  <c:v>6.1</c:v>
                </c:pt>
                <c:pt idx="2803" formatCode="0.00">
                  <c:v>6.1</c:v>
                </c:pt>
                <c:pt idx="2804" formatCode="0.00">
                  <c:v>6.1</c:v>
                </c:pt>
                <c:pt idx="2805" formatCode="0.00">
                  <c:v>6.1</c:v>
                </c:pt>
                <c:pt idx="2806" formatCode="0.00">
                  <c:v>6.1</c:v>
                </c:pt>
                <c:pt idx="2807" formatCode="0.00">
                  <c:v>6.1</c:v>
                </c:pt>
                <c:pt idx="2808" formatCode="0.00">
                  <c:v>6.1</c:v>
                </c:pt>
                <c:pt idx="2809" formatCode="0.00">
                  <c:v>6.1</c:v>
                </c:pt>
                <c:pt idx="2810" formatCode="0.00">
                  <c:v>6.1</c:v>
                </c:pt>
                <c:pt idx="2811" formatCode="0.00">
                  <c:v>6.1</c:v>
                </c:pt>
                <c:pt idx="2812" formatCode="0.00">
                  <c:v>6.1</c:v>
                </c:pt>
                <c:pt idx="2813" formatCode="0.00">
                  <c:v>6.1</c:v>
                </c:pt>
                <c:pt idx="2814" formatCode="0.00">
                  <c:v>6.1</c:v>
                </c:pt>
                <c:pt idx="2815" formatCode="0.00">
                  <c:v>6.1</c:v>
                </c:pt>
                <c:pt idx="2816" formatCode="0.00">
                  <c:v>6.1</c:v>
                </c:pt>
                <c:pt idx="2817" formatCode="0.00">
                  <c:v>6.1</c:v>
                </c:pt>
                <c:pt idx="2818" formatCode="0.00">
                  <c:v>6.1</c:v>
                </c:pt>
                <c:pt idx="2819" formatCode="0.00">
                  <c:v>6.1</c:v>
                </c:pt>
                <c:pt idx="2820" formatCode="0.00">
                  <c:v>6.1</c:v>
                </c:pt>
                <c:pt idx="2821" formatCode="0.00">
                  <c:v>6.1</c:v>
                </c:pt>
                <c:pt idx="2822" formatCode="0.00">
                  <c:v>6.1</c:v>
                </c:pt>
                <c:pt idx="2823" formatCode="0.00">
                  <c:v>6.1</c:v>
                </c:pt>
                <c:pt idx="2824" formatCode="0.00">
                  <c:v>6.1</c:v>
                </c:pt>
                <c:pt idx="2825" formatCode="0.00">
                  <c:v>6.1</c:v>
                </c:pt>
                <c:pt idx="2826" formatCode="0.00">
                  <c:v>6.1</c:v>
                </c:pt>
                <c:pt idx="2827" formatCode="0.00">
                  <c:v>6.1</c:v>
                </c:pt>
                <c:pt idx="2828" formatCode="0.00">
                  <c:v>6.1</c:v>
                </c:pt>
                <c:pt idx="2829" formatCode="0.00">
                  <c:v>6.1</c:v>
                </c:pt>
                <c:pt idx="2830" formatCode="0.00">
                  <c:v>6.1</c:v>
                </c:pt>
                <c:pt idx="2831" formatCode="0.00">
                  <c:v>6.09</c:v>
                </c:pt>
                <c:pt idx="2832" formatCode="0.00">
                  <c:v>6.09</c:v>
                </c:pt>
                <c:pt idx="2833" formatCode="0.00">
                  <c:v>6.09</c:v>
                </c:pt>
                <c:pt idx="2834" formatCode="0.00">
                  <c:v>6.09</c:v>
                </c:pt>
                <c:pt idx="2835" formatCode="0.00">
                  <c:v>6.09</c:v>
                </c:pt>
                <c:pt idx="2836" formatCode="0.00">
                  <c:v>6.09</c:v>
                </c:pt>
                <c:pt idx="2837" formatCode="0.00">
                  <c:v>6.09</c:v>
                </c:pt>
                <c:pt idx="2838" formatCode="0.00">
                  <c:v>6.09</c:v>
                </c:pt>
                <c:pt idx="2839" formatCode="0.00">
                  <c:v>6.09</c:v>
                </c:pt>
                <c:pt idx="2840" formatCode="0.00">
                  <c:v>6.09</c:v>
                </c:pt>
                <c:pt idx="2841" formatCode="0.00">
                  <c:v>6.09</c:v>
                </c:pt>
                <c:pt idx="2842" formatCode="0.00">
                  <c:v>6.09</c:v>
                </c:pt>
                <c:pt idx="2843" formatCode="0.00">
                  <c:v>6.09</c:v>
                </c:pt>
                <c:pt idx="2844" formatCode="0.00">
                  <c:v>6.09</c:v>
                </c:pt>
                <c:pt idx="2845" formatCode="0.00">
                  <c:v>6.09</c:v>
                </c:pt>
                <c:pt idx="2846" formatCode="0.00">
                  <c:v>6.09</c:v>
                </c:pt>
                <c:pt idx="2847" formatCode="0.00">
                  <c:v>6.09</c:v>
                </c:pt>
                <c:pt idx="2848" formatCode="0.00">
                  <c:v>6.09</c:v>
                </c:pt>
                <c:pt idx="2849" formatCode="0.00">
                  <c:v>6.09</c:v>
                </c:pt>
                <c:pt idx="2850" formatCode="0.00">
                  <c:v>6.09</c:v>
                </c:pt>
                <c:pt idx="2851" formatCode="0.00">
                  <c:v>6.09</c:v>
                </c:pt>
                <c:pt idx="2852" formatCode="0.00">
                  <c:v>6.1</c:v>
                </c:pt>
                <c:pt idx="2853" formatCode="0.00">
                  <c:v>6.09</c:v>
                </c:pt>
                <c:pt idx="2854" formatCode="0.00">
                  <c:v>6.09</c:v>
                </c:pt>
                <c:pt idx="2855" formatCode="0.00">
                  <c:v>6.09</c:v>
                </c:pt>
                <c:pt idx="2856" formatCode="0.00">
                  <c:v>6.09</c:v>
                </c:pt>
                <c:pt idx="2857" formatCode="0.00">
                  <c:v>6.09</c:v>
                </c:pt>
                <c:pt idx="2858" formatCode="0.00">
                  <c:v>6.08</c:v>
                </c:pt>
                <c:pt idx="2859" formatCode="0.00">
                  <c:v>6.08</c:v>
                </c:pt>
                <c:pt idx="2860" formatCode="0.00">
                  <c:v>6.08</c:v>
                </c:pt>
                <c:pt idx="2861" formatCode="0.00">
                  <c:v>6.08</c:v>
                </c:pt>
                <c:pt idx="2862" formatCode="0.00">
                  <c:v>6.09</c:v>
                </c:pt>
                <c:pt idx="2863" formatCode="0.00">
                  <c:v>6.09</c:v>
                </c:pt>
                <c:pt idx="2864" formatCode="0.00">
                  <c:v>6.09</c:v>
                </c:pt>
                <c:pt idx="2865" formatCode="0.00">
                  <c:v>6.09</c:v>
                </c:pt>
                <c:pt idx="2866" formatCode="0.00">
                  <c:v>6.09</c:v>
                </c:pt>
                <c:pt idx="2867" formatCode="0.00">
                  <c:v>6.09</c:v>
                </c:pt>
                <c:pt idx="2868" formatCode="0.00">
                  <c:v>6.08</c:v>
                </c:pt>
                <c:pt idx="2869" formatCode="0.00">
                  <c:v>6.08</c:v>
                </c:pt>
                <c:pt idx="2870" formatCode="0.00">
                  <c:v>6.08</c:v>
                </c:pt>
                <c:pt idx="2871" formatCode="0.00">
                  <c:v>6.08</c:v>
                </c:pt>
                <c:pt idx="2872" formatCode="0.00">
                  <c:v>6.08</c:v>
                </c:pt>
                <c:pt idx="2873" formatCode="0.00">
                  <c:v>6.08</c:v>
                </c:pt>
                <c:pt idx="2874" formatCode="0.00">
                  <c:v>6.08</c:v>
                </c:pt>
                <c:pt idx="2875" formatCode="0.00">
                  <c:v>6.08</c:v>
                </c:pt>
                <c:pt idx="2876" formatCode="0.00">
                  <c:v>6.1</c:v>
                </c:pt>
                <c:pt idx="2877" formatCode="0.00">
                  <c:v>6.1</c:v>
                </c:pt>
                <c:pt idx="2878" formatCode="0.00">
                  <c:v>6.1</c:v>
                </c:pt>
                <c:pt idx="2879" formatCode="0.00">
                  <c:v>6.1</c:v>
                </c:pt>
                <c:pt idx="2880" formatCode="0.00">
                  <c:v>6.09</c:v>
                </c:pt>
                <c:pt idx="2881" formatCode="0.00">
                  <c:v>6.1</c:v>
                </c:pt>
                <c:pt idx="2882" formatCode="0.00">
                  <c:v>6.09</c:v>
                </c:pt>
                <c:pt idx="2883" formatCode="0.00">
                  <c:v>6.09</c:v>
                </c:pt>
                <c:pt idx="2884" formatCode="0.00">
                  <c:v>6.1</c:v>
                </c:pt>
                <c:pt idx="2885" formatCode="0.00">
                  <c:v>6.1</c:v>
                </c:pt>
                <c:pt idx="2886" formatCode="0.00">
                  <c:v>6.1</c:v>
                </c:pt>
                <c:pt idx="2887" formatCode="0.00">
                  <c:v>6.1</c:v>
                </c:pt>
                <c:pt idx="2888" formatCode="0.00">
                  <c:v>6.1</c:v>
                </c:pt>
                <c:pt idx="2889" formatCode="0.00">
                  <c:v>6.1</c:v>
                </c:pt>
                <c:pt idx="2890" formatCode="0.00">
                  <c:v>6.1</c:v>
                </c:pt>
                <c:pt idx="2891" formatCode="0.00">
                  <c:v>6.1</c:v>
                </c:pt>
                <c:pt idx="2892" formatCode="0.00">
                  <c:v>6.11</c:v>
                </c:pt>
                <c:pt idx="2893" formatCode="0.00">
                  <c:v>6.11</c:v>
                </c:pt>
                <c:pt idx="2894" formatCode="0.00">
                  <c:v>6.12</c:v>
                </c:pt>
                <c:pt idx="2895" formatCode="0.00">
                  <c:v>6.12</c:v>
                </c:pt>
                <c:pt idx="2896" formatCode="0.00">
                  <c:v>6.12</c:v>
                </c:pt>
                <c:pt idx="2897" formatCode="0.00">
                  <c:v>6.12</c:v>
                </c:pt>
                <c:pt idx="2898" formatCode="0.00">
                  <c:v>6.12</c:v>
                </c:pt>
                <c:pt idx="2899" formatCode="0.00">
                  <c:v>6.12</c:v>
                </c:pt>
                <c:pt idx="2900" formatCode="0.00">
                  <c:v>6.12</c:v>
                </c:pt>
                <c:pt idx="2901" formatCode="0.00">
                  <c:v>6.12</c:v>
                </c:pt>
                <c:pt idx="2902" formatCode="0.00">
                  <c:v>6.12</c:v>
                </c:pt>
                <c:pt idx="2903" formatCode="0.00">
                  <c:v>6.12</c:v>
                </c:pt>
                <c:pt idx="2904" formatCode="0.00">
                  <c:v>6.12</c:v>
                </c:pt>
                <c:pt idx="2905" formatCode="0.00">
                  <c:v>6.12</c:v>
                </c:pt>
                <c:pt idx="2906" formatCode="0.00">
                  <c:v>6.12</c:v>
                </c:pt>
                <c:pt idx="2907" formatCode="0.00">
                  <c:v>6.12</c:v>
                </c:pt>
                <c:pt idx="2908" formatCode="0.00">
                  <c:v>6.13</c:v>
                </c:pt>
                <c:pt idx="2909" formatCode="0.00">
                  <c:v>6.13</c:v>
                </c:pt>
                <c:pt idx="2910" formatCode="0.00">
                  <c:v>6.16</c:v>
                </c:pt>
                <c:pt idx="2911" formatCode="0.00">
                  <c:v>6.2</c:v>
                </c:pt>
                <c:pt idx="2912" formatCode="0.00">
                  <c:v>6.22</c:v>
                </c:pt>
                <c:pt idx="2913" formatCode="0.00">
                  <c:v>6.2</c:v>
                </c:pt>
                <c:pt idx="2914" formatCode="0.00">
                  <c:v>6.22</c:v>
                </c:pt>
                <c:pt idx="2915" formatCode="0.00">
                  <c:v>6.24</c:v>
                </c:pt>
                <c:pt idx="2916" formatCode="0.00">
                  <c:v>6.24</c:v>
                </c:pt>
                <c:pt idx="2917" formatCode="0.00">
                  <c:v>6.25</c:v>
                </c:pt>
                <c:pt idx="2918" formatCode="0.00">
                  <c:v>6.31</c:v>
                </c:pt>
                <c:pt idx="2919" formatCode="0.00">
                  <c:v>6.31</c:v>
                </c:pt>
                <c:pt idx="2920" formatCode="0.00">
                  <c:v>6.33</c:v>
                </c:pt>
                <c:pt idx="2921" formatCode="0.00">
                  <c:v>6.41</c:v>
                </c:pt>
                <c:pt idx="2922" formatCode="0.00">
                  <c:v>6.44</c:v>
                </c:pt>
                <c:pt idx="2923" formatCode="0.00">
                  <c:v>6.45</c:v>
                </c:pt>
                <c:pt idx="2924" formatCode="0.00">
                  <c:v>6.44</c:v>
                </c:pt>
                <c:pt idx="2925" formatCode="0.00">
                  <c:v>6.43</c:v>
                </c:pt>
                <c:pt idx="2926" formatCode="0.00">
                  <c:v>6.43</c:v>
                </c:pt>
                <c:pt idx="2927" formatCode="0.00">
                  <c:v>6.43</c:v>
                </c:pt>
                <c:pt idx="2928" formatCode="0.00">
                  <c:v>6.64</c:v>
                </c:pt>
                <c:pt idx="2929" formatCode="0.00">
                  <c:v>6.76</c:v>
                </c:pt>
                <c:pt idx="2930" formatCode="0.00">
                  <c:v>6.81</c:v>
                </c:pt>
                <c:pt idx="2931" formatCode="0.00">
                  <c:v>6.99</c:v>
                </c:pt>
                <c:pt idx="2932" formatCode="0.00">
                  <c:v>6.98</c:v>
                </c:pt>
                <c:pt idx="2933" formatCode="0.00">
                  <c:v>6.99</c:v>
                </c:pt>
                <c:pt idx="2934" formatCode="0.00">
                  <c:v>7</c:v>
                </c:pt>
                <c:pt idx="2935" formatCode="0.00">
                  <c:v>6.99</c:v>
                </c:pt>
                <c:pt idx="2936" formatCode="0.00">
                  <c:v>6.99</c:v>
                </c:pt>
                <c:pt idx="2937" formatCode="0.00">
                  <c:v>6.99</c:v>
                </c:pt>
                <c:pt idx="2938" formatCode="0.00">
                  <c:v>6.99</c:v>
                </c:pt>
                <c:pt idx="2939" formatCode="0.00">
                  <c:v>7</c:v>
                </c:pt>
                <c:pt idx="2940" formatCode="0.00">
                  <c:v>7</c:v>
                </c:pt>
                <c:pt idx="2941" formatCode="0.00">
                  <c:v>7</c:v>
                </c:pt>
                <c:pt idx="2942" formatCode="0.00">
                  <c:v>7</c:v>
                </c:pt>
                <c:pt idx="2943" formatCode="0.00">
                  <c:v>7</c:v>
                </c:pt>
                <c:pt idx="2944" formatCode="0.00">
                  <c:v>7.01</c:v>
                </c:pt>
                <c:pt idx="2945" formatCode="0.00">
                  <c:v>7.01</c:v>
                </c:pt>
                <c:pt idx="2946" formatCode="0.00">
                  <c:v>7.19</c:v>
                </c:pt>
                <c:pt idx="2947" formatCode="0.00">
                  <c:v>7.21</c:v>
                </c:pt>
                <c:pt idx="2948" formatCode="0.00">
                  <c:v>7.21</c:v>
                </c:pt>
                <c:pt idx="2949" formatCode="0.00">
                  <c:v>7.22</c:v>
                </c:pt>
                <c:pt idx="2950" formatCode="0.00">
                  <c:v>7.23</c:v>
                </c:pt>
                <c:pt idx="2951" formatCode="0.00">
                  <c:v>7.24</c:v>
                </c:pt>
                <c:pt idx="2952" formatCode="0.00">
                  <c:v>7.24</c:v>
                </c:pt>
                <c:pt idx="2953" formatCode="0.00">
                  <c:v>7.24</c:v>
                </c:pt>
                <c:pt idx="2954" formatCode="0.00">
                  <c:v>7.25</c:v>
                </c:pt>
                <c:pt idx="2955" formatCode="0.00">
                  <c:v>7.35</c:v>
                </c:pt>
                <c:pt idx="2956" formatCode="0.00">
                  <c:v>7.47</c:v>
                </c:pt>
                <c:pt idx="2957" formatCode="0.00">
                  <c:v>7.58</c:v>
                </c:pt>
                <c:pt idx="2958" formatCode="0.00">
                  <c:v>7.58</c:v>
                </c:pt>
                <c:pt idx="2959" formatCode="0.00">
                  <c:v>7.59</c:v>
                </c:pt>
                <c:pt idx="2960" formatCode="0.00">
                  <c:v>7.6</c:v>
                </c:pt>
                <c:pt idx="2961" formatCode="0.00">
                  <c:v>7.63</c:v>
                </c:pt>
                <c:pt idx="2962" formatCode="0.00">
                  <c:v>7.63</c:v>
                </c:pt>
                <c:pt idx="2963" formatCode="0.00">
                  <c:v>7.64</c:v>
                </c:pt>
                <c:pt idx="2964" formatCode="0.00">
                  <c:v>7.64</c:v>
                </c:pt>
                <c:pt idx="2965" formatCode="0.00">
                  <c:v>7.64</c:v>
                </c:pt>
                <c:pt idx="2966" formatCode="0.00">
                  <c:v>7.64</c:v>
                </c:pt>
                <c:pt idx="2967" formatCode="0.00">
                  <c:v>7.64</c:v>
                </c:pt>
                <c:pt idx="2968" formatCode="0.00">
                  <c:v>7.64</c:v>
                </c:pt>
                <c:pt idx="2969" formatCode="0.00">
                  <c:v>7.65</c:v>
                </c:pt>
                <c:pt idx="2970" formatCode="0.00">
                  <c:v>7.54</c:v>
                </c:pt>
                <c:pt idx="2971" formatCode="0.00">
                  <c:v>7.51</c:v>
                </c:pt>
                <c:pt idx="2972" formatCode="0.00">
                  <c:v>7.5</c:v>
                </c:pt>
                <c:pt idx="2973" formatCode="0.00">
                  <c:v>7.49</c:v>
                </c:pt>
                <c:pt idx="2974" formatCode="0.00">
                  <c:v>7.48</c:v>
                </c:pt>
                <c:pt idx="2975" formatCode="0.00">
                  <c:v>7.49</c:v>
                </c:pt>
                <c:pt idx="2976" formatCode="0.00">
                  <c:v>7.48</c:v>
                </c:pt>
                <c:pt idx="2977" formatCode="0.00">
                  <c:v>7.47</c:v>
                </c:pt>
                <c:pt idx="2978" formatCode="0.00">
                  <c:v>7.46</c:v>
                </c:pt>
                <c:pt idx="2979" formatCode="0.00">
                  <c:v>7.46</c:v>
                </c:pt>
                <c:pt idx="2980" formatCode="0.00">
                  <c:v>7.44</c:v>
                </c:pt>
                <c:pt idx="2981" formatCode="0.00">
                  <c:v>7.43</c:v>
                </c:pt>
                <c:pt idx="2982" formatCode="0.00">
                  <c:v>7.43</c:v>
                </c:pt>
                <c:pt idx="2983" formatCode="0.00">
                  <c:v>7.43</c:v>
                </c:pt>
                <c:pt idx="2984" formatCode="0.00">
                  <c:v>7.43</c:v>
                </c:pt>
                <c:pt idx="2985" formatCode="0.00">
                  <c:v>7.43</c:v>
                </c:pt>
                <c:pt idx="2986" formatCode="0.00">
                  <c:v>7.42</c:v>
                </c:pt>
                <c:pt idx="2987" formatCode="0.00">
                  <c:v>7.42</c:v>
                </c:pt>
                <c:pt idx="2988" formatCode="0.00">
                  <c:v>7.43</c:v>
                </c:pt>
                <c:pt idx="2989" formatCode="0.00">
                  <c:v>7.41</c:v>
                </c:pt>
                <c:pt idx="2990" formatCode="0.00">
                  <c:v>7.41</c:v>
                </c:pt>
                <c:pt idx="2991" formatCode="0.00">
                  <c:v>7.4</c:v>
                </c:pt>
                <c:pt idx="2992" formatCode="0.00">
                  <c:v>7.38</c:v>
                </c:pt>
                <c:pt idx="2993" formatCode="0.00">
                  <c:v>7.38</c:v>
                </c:pt>
                <c:pt idx="2994" formatCode="0.00">
                  <c:v>7.36</c:v>
                </c:pt>
                <c:pt idx="2995" formatCode="0.00">
                  <c:v>7.33</c:v>
                </c:pt>
                <c:pt idx="2996" formatCode="0.00">
                  <c:v>7.33</c:v>
                </c:pt>
                <c:pt idx="2997" formatCode="0.00">
                  <c:v>7.33</c:v>
                </c:pt>
                <c:pt idx="2998" formatCode="0.00">
                  <c:v>7.33</c:v>
                </c:pt>
                <c:pt idx="2999" formatCode="0.00">
                  <c:v>7.33</c:v>
                </c:pt>
                <c:pt idx="3000" formatCode="0.00">
                  <c:v>7.33</c:v>
                </c:pt>
                <c:pt idx="3001" formatCode="0.00">
                  <c:v>7.33</c:v>
                </c:pt>
                <c:pt idx="3002" formatCode="0.00">
                  <c:v>7.32</c:v>
                </c:pt>
                <c:pt idx="3003" formatCode="0.00">
                  <c:v>7.31</c:v>
                </c:pt>
                <c:pt idx="3004" formatCode="0.00">
                  <c:v>7.29</c:v>
                </c:pt>
                <c:pt idx="3005" formatCode="0.00">
                  <c:v>7.29</c:v>
                </c:pt>
                <c:pt idx="3006" formatCode="0.00">
                  <c:v>7.29</c:v>
                </c:pt>
                <c:pt idx="3007" formatCode="0.00">
                  <c:v>7.28</c:v>
                </c:pt>
                <c:pt idx="3008" formatCode="0.00">
                  <c:v>7.26</c:v>
                </c:pt>
                <c:pt idx="3009" formatCode="0.00">
                  <c:v>7.26</c:v>
                </c:pt>
                <c:pt idx="3010" formatCode="0.00">
                  <c:v>7.28</c:v>
                </c:pt>
                <c:pt idx="3011" formatCode="0.00">
                  <c:v>7.27</c:v>
                </c:pt>
                <c:pt idx="3012" formatCode="0.00">
                  <c:v>7.27</c:v>
                </c:pt>
                <c:pt idx="3013" formatCode="0.00">
                  <c:v>7.26</c:v>
                </c:pt>
                <c:pt idx="3014" formatCode="0.00">
                  <c:v>7.26</c:v>
                </c:pt>
                <c:pt idx="3015" formatCode="0.00">
                  <c:v>7.26</c:v>
                </c:pt>
                <c:pt idx="3016" formatCode="0.00">
                  <c:v>7.25</c:v>
                </c:pt>
                <c:pt idx="3017" formatCode="0.00">
                  <c:v>7.25</c:v>
                </c:pt>
                <c:pt idx="3018" formatCode="0.00">
                  <c:v>7.24</c:v>
                </c:pt>
                <c:pt idx="3019" formatCode="0.00">
                  <c:v>7.23</c:v>
                </c:pt>
                <c:pt idx="3020" formatCode="0.00">
                  <c:v>7.23</c:v>
                </c:pt>
                <c:pt idx="3021" formatCode="0.00">
                  <c:v>7.23</c:v>
                </c:pt>
                <c:pt idx="3022" formatCode="0.00">
                  <c:v>7.22</c:v>
                </c:pt>
                <c:pt idx="3023" formatCode="0.00">
                  <c:v>7.23</c:v>
                </c:pt>
                <c:pt idx="3024" formatCode="0.00">
                  <c:v>7.24</c:v>
                </c:pt>
                <c:pt idx="3025" formatCode="0.00">
                  <c:v>7.24</c:v>
                </c:pt>
                <c:pt idx="3026" formatCode="0.00">
                  <c:v>7.24</c:v>
                </c:pt>
                <c:pt idx="3027" formatCode="0.00">
                  <c:v>7.24</c:v>
                </c:pt>
                <c:pt idx="3028" formatCode="0.00">
                  <c:v>7.25</c:v>
                </c:pt>
                <c:pt idx="3029" formatCode="0.00">
                  <c:v>7.24</c:v>
                </c:pt>
                <c:pt idx="3030" formatCode="0.00">
                  <c:v>7.25</c:v>
                </c:pt>
                <c:pt idx="3031" formatCode="0.00">
                  <c:v>7.25</c:v>
                </c:pt>
                <c:pt idx="3032" formatCode="0.00">
                  <c:v>7.25</c:v>
                </c:pt>
                <c:pt idx="3033" formatCode="0.00">
                  <c:v>7.24</c:v>
                </c:pt>
                <c:pt idx="3034" formatCode="0.00">
                  <c:v>7.24</c:v>
                </c:pt>
                <c:pt idx="3035" formatCode="0.00">
                  <c:v>7.23</c:v>
                </c:pt>
                <c:pt idx="3036" formatCode="0.00">
                  <c:v>7.23</c:v>
                </c:pt>
                <c:pt idx="3037" formatCode="0.00">
                  <c:v>7.23</c:v>
                </c:pt>
                <c:pt idx="3038" formatCode="0.00">
                  <c:v>7.22</c:v>
                </c:pt>
                <c:pt idx="3039" formatCode="0.00">
                  <c:v>7.22</c:v>
                </c:pt>
                <c:pt idx="3040" formatCode="0.00">
                  <c:v>7.21</c:v>
                </c:pt>
                <c:pt idx="3041" formatCode="0.00">
                  <c:v>7.21</c:v>
                </c:pt>
                <c:pt idx="3042" formatCode="0.00">
                  <c:v>7.21</c:v>
                </c:pt>
                <c:pt idx="3043" formatCode="0.00">
                  <c:v>7.21</c:v>
                </c:pt>
                <c:pt idx="3044" formatCode="0.00">
                  <c:v>7.21</c:v>
                </c:pt>
                <c:pt idx="3045" formatCode="0.00">
                  <c:v>7.21</c:v>
                </c:pt>
                <c:pt idx="3046" formatCode="0.00">
                  <c:v>7.21</c:v>
                </c:pt>
                <c:pt idx="3047" formatCode="0.00">
                  <c:v>7.21</c:v>
                </c:pt>
                <c:pt idx="3048" formatCode="0.00">
                  <c:v>7.21</c:v>
                </c:pt>
                <c:pt idx="3049" formatCode="0.00">
                  <c:v>7.21</c:v>
                </c:pt>
                <c:pt idx="3050" formatCode="0.00">
                  <c:v>7.21</c:v>
                </c:pt>
                <c:pt idx="3051" formatCode="0.00">
                  <c:v>7.21</c:v>
                </c:pt>
                <c:pt idx="3052" formatCode="0.00">
                  <c:v>7.21</c:v>
                </c:pt>
                <c:pt idx="3053" formatCode="0.00">
                  <c:v>7.2</c:v>
                </c:pt>
                <c:pt idx="3054" formatCode="0.00">
                  <c:v>7.19</c:v>
                </c:pt>
                <c:pt idx="3055" formatCode="0.00">
                  <c:v>7.19</c:v>
                </c:pt>
                <c:pt idx="3056" formatCode="0.00">
                  <c:v>7.19</c:v>
                </c:pt>
                <c:pt idx="3057" formatCode="0.00">
                  <c:v>7.19</c:v>
                </c:pt>
                <c:pt idx="3058" formatCode="0.00">
                  <c:v>7.19</c:v>
                </c:pt>
                <c:pt idx="3059" formatCode="0.00">
                  <c:v>7.19</c:v>
                </c:pt>
                <c:pt idx="3060" formatCode="0.00">
                  <c:v>7.19</c:v>
                </c:pt>
                <c:pt idx="3061" formatCode="0.00">
                  <c:v>7.2</c:v>
                </c:pt>
                <c:pt idx="3062" formatCode="0.00">
                  <c:v>7.19</c:v>
                </c:pt>
                <c:pt idx="3063" formatCode="0.00">
                  <c:v>7.19</c:v>
                </c:pt>
                <c:pt idx="3064" formatCode="0.00">
                  <c:v>7.21</c:v>
                </c:pt>
                <c:pt idx="3065" formatCode="0.00">
                  <c:v>7.21</c:v>
                </c:pt>
                <c:pt idx="3066" formatCode="0.00">
                  <c:v>7.2</c:v>
                </c:pt>
                <c:pt idx="3067" formatCode="0.00">
                  <c:v>7.21</c:v>
                </c:pt>
                <c:pt idx="3068" formatCode="0.00">
                  <c:v>7.2</c:v>
                </c:pt>
                <c:pt idx="3069" formatCode="0.00">
                  <c:v>7.2</c:v>
                </c:pt>
                <c:pt idx="3070" formatCode="0.00">
                  <c:v>7.2</c:v>
                </c:pt>
                <c:pt idx="3071" formatCode="0.00">
                  <c:v>7.21</c:v>
                </c:pt>
                <c:pt idx="3072" formatCode="0.00">
                  <c:v>7.2</c:v>
                </c:pt>
                <c:pt idx="3073" formatCode="0.00">
                  <c:v>7.2</c:v>
                </c:pt>
                <c:pt idx="3074" formatCode="0.00">
                  <c:v>7.2</c:v>
                </c:pt>
                <c:pt idx="3075" formatCode="0.00">
                  <c:v>7.19</c:v>
                </c:pt>
                <c:pt idx="3076" formatCode="0.00">
                  <c:v>7.19</c:v>
                </c:pt>
                <c:pt idx="3077" formatCode="0.00">
                  <c:v>7.2</c:v>
                </c:pt>
                <c:pt idx="3078" formatCode="0.00">
                  <c:v>7.2</c:v>
                </c:pt>
                <c:pt idx="3079" formatCode="0.00">
                  <c:v>7.2</c:v>
                </c:pt>
                <c:pt idx="3080" formatCode="0.00">
                  <c:v>7.2</c:v>
                </c:pt>
                <c:pt idx="3081" formatCode="0.00">
                  <c:v>7.19</c:v>
                </c:pt>
                <c:pt idx="3082" formatCode="0.00">
                  <c:v>7.19</c:v>
                </c:pt>
                <c:pt idx="3083" formatCode="0.00">
                  <c:v>7.19</c:v>
                </c:pt>
                <c:pt idx="3084" formatCode="0.00">
                  <c:v>7.2</c:v>
                </c:pt>
                <c:pt idx="3085" formatCode="0.00">
                  <c:v>7.19</c:v>
                </c:pt>
                <c:pt idx="3086" formatCode="0.00">
                  <c:v>7.2</c:v>
                </c:pt>
                <c:pt idx="3087" formatCode="0.00">
                  <c:v>7.2</c:v>
                </c:pt>
                <c:pt idx="3088" formatCode="0.00">
                  <c:v>7.2</c:v>
                </c:pt>
                <c:pt idx="3089" formatCode="0.00">
                  <c:v>7.2</c:v>
                </c:pt>
                <c:pt idx="3090" formatCode="0.00">
                  <c:v>7.2</c:v>
                </c:pt>
                <c:pt idx="3091" formatCode="0.00">
                  <c:v>7.2</c:v>
                </c:pt>
                <c:pt idx="3092" formatCode="0.00">
                  <c:v>7.2</c:v>
                </c:pt>
                <c:pt idx="3093" formatCode="0.00">
                  <c:v>7.19</c:v>
                </c:pt>
                <c:pt idx="3094" formatCode="0.00">
                  <c:v>7.19</c:v>
                </c:pt>
                <c:pt idx="3095" formatCode="0.00">
                  <c:v>7.19</c:v>
                </c:pt>
                <c:pt idx="3096" formatCode="0.00">
                  <c:v>7.2</c:v>
                </c:pt>
                <c:pt idx="3097" formatCode="0.00">
                  <c:v>7.19</c:v>
                </c:pt>
                <c:pt idx="3098" formatCode="0.00">
                  <c:v>7.18</c:v>
                </c:pt>
                <c:pt idx="3099" formatCode="0.00">
                  <c:v>7.18</c:v>
                </c:pt>
                <c:pt idx="3100" formatCode="0.00">
                  <c:v>7.18</c:v>
                </c:pt>
                <c:pt idx="3101" formatCode="0.00">
                  <c:v>7.16</c:v>
                </c:pt>
                <c:pt idx="3102" formatCode="0.00">
                  <c:v>7.15</c:v>
                </c:pt>
                <c:pt idx="3103" formatCode="0.00">
                  <c:v>7.15</c:v>
                </c:pt>
                <c:pt idx="3104" formatCode="0.00">
                  <c:v>7.16</c:v>
                </c:pt>
                <c:pt idx="3105" formatCode="0.00">
                  <c:v>7.16</c:v>
                </c:pt>
                <c:pt idx="3106" formatCode="0.00">
                  <c:v>7.16</c:v>
                </c:pt>
                <c:pt idx="3107" formatCode="0.00">
                  <c:v>7.16</c:v>
                </c:pt>
                <c:pt idx="3108" formatCode="0.00">
                  <c:v>7.16</c:v>
                </c:pt>
                <c:pt idx="3109" formatCode="0.00">
                  <c:v>7.15</c:v>
                </c:pt>
                <c:pt idx="3110" formatCode="0.00">
                  <c:v>7.15</c:v>
                </c:pt>
                <c:pt idx="3111" formatCode="0.00">
                  <c:v>7.15</c:v>
                </c:pt>
                <c:pt idx="3112" formatCode="0.00">
                  <c:v>7.15</c:v>
                </c:pt>
                <c:pt idx="3113" formatCode="0.00">
                  <c:v>7.15</c:v>
                </c:pt>
                <c:pt idx="3114" formatCode="0.00">
                  <c:v>7.15</c:v>
                </c:pt>
                <c:pt idx="3115" formatCode="0.00">
                  <c:v>7.15</c:v>
                </c:pt>
                <c:pt idx="3116" formatCode="0.00">
                  <c:v>7.15</c:v>
                </c:pt>
                <c:pt idx="3117" formatCode="0.00">
                  <c:v>7.15</c:v>
                </c:pt>
                <c:pt idx="3118" formatCode="0.00">
                  <c:v>7.15</c:v>
                </c:pt>
                <c:pt idx="3119" formatCode="0.00">
                  <c:v>7.15</c:v>
                </c:pt>
                <c:pt idx="3120" formatCode="0.00">
                  <c:v>6.9</c:v>
                </c:pt>
                <c:pt idx="3121" formatCode="0.00">
                  <c:v>6.89</c:v>
                </c:pt>
                <c:pt idx="3122" formatCode="0.00">
                  <c:v>6.9</c:v>
                </c:pt>
                <c:pt idx="3123" formatCode="0.00">
                  <c:v>6.9</c:v>
                </c:pt>
                <c:pt idx="3124" formatCode="0.00">
                  <c:v>6.9</c:v>
                </c:pt>
                <c:pt idx="3125" formatCode="0.00">
                  <c:v>6.9</c:v>
                </c:pt>
                <c:pt idx="3126" formatCode="0.00">
                  <c:v>6.9</c:v>
                </c:pt>
                <c:pt idx="3127" formatCode="0.00">
                  <c:v>6.9</c:v>
                </c:pt>
                <c:pt idx="3128" formatCode="0.00">
                  <c:v>6.9</c:v>
                </c:pt>
                <c:pt idx="3129" formatCode="0.00">
                  <c:v>6.9</c:v>
                </c:pt>
                <c:pt idx="3130" formatCode="0.00">
                  <c:v>6.89</c:v>
                </c:pt>
                <c:pt idx="3131" formatCode="0.00">
                  <c:v>6.89</c:v>
                </c:pt>
                <c:pt idx="3132" formatCode="0.00">
                  <c:v>6.89</c:v>
                </c:pt>
                <c:pt idx="3133" formatCode="0.00">
                  <c:v>6.88</c:v>
                </c:pt>
                <c:pt idx="3134" formatCode="0.00">
                  <c:v>6.88</c:v>
                </c:pt>
                <c:pt idx="3135" formatCode="0.00">
                  <c:v>6.86</c:v>
                </c:pt>
                <c:pt idx="3136" formatCode="0.00">
                  <c:v>6.86</c:v>
                </c:pt>
                <c:pt idx="3137" formatCode="0.00">
                  <c:v>6.86</c:v>
                </c:pt>
                <c:pt idx="3138" formatCode="0.00">
                  <c:v>6.86</c:v>
                </c:pt>
                <c:pt idx="3139" formatCode="0.00">
                  <c:v>6.84</c:v>
                </c:pt>
                <c:pt idx="3140" formatCode="0.00">
                  <c:v>6.63</c:v>
                </c:pt>
                <c:pt idx="3141" formatCode="0.00">
                  <c:v>6.62</c:v>
                </c:pt>
                <c:pt idx="3142" formatCode="0.00">
                  <c:v>6.61</c:v>
                </c:pt>
                <c:pt idx="3143" formatCode="0.00">
                  <c:v>6.61</c:v>
                </c:pt>
                <c:pt idx="3144" formatCode="0.00">
                  <c:v>6.61</c:v>
                </c:pt>
                <c:pt idx="3145" formatCode="0.00">
                  <c:v>6.61</c:v>
                </c:pt>
                <c:pt idx="3146" formatCode="0.00">
                  <c:v>6.6</c:v>
                </c:pt>
                <c:pt idx="3147" formatCode="0.00">
                  <c:v>6.6</c:v>
                </c:pt>
                <c:pt idx="3148" formatCode="0.00">
                  <c:v>6.6</c:v>
                </c:pt>
                <c:pt idx="3149" formatCode="0.00">
                  <c:v>6.6</c:v>
                </c:pt>
                <c:pt idx="3150" formatCode="0.00">
                  <c:v>6.61</c:v>
                </c:pt>
                <c:pt idx="3151" formatCode="0.00">
                  <c:v>6.6</c:v>
                </c:pt>
                <c:pt idx="3152" formatCode="0.00">
                  <c:v>6.58</c:v>
                </c:pt>
                <c:pt idx="3153" formatCode="0.00">
                  <c:v>6.57</c:v>
                </c:pt>
                <c:pt idx="3154" formatCode="0.00">
                  <c:v>6.57</c:v>
                </c:pt>
                <c:pt idx="3155" formatCode="0.00">
                  <c:v>6.56</c:v>
                </c:pt>
                <c:pt idx="3156" formatCode="0.00">
                  <c:v>6.55</c:v>
                </c:pt>
                <c:pt idx="3157" formatCode="0.00">
                  <c:v>6.55</c:v>
                </c:pt>
                <c:pt idx="3158" formatCode="0.00">
                  <c:v>6.55</c:v>
                </c:pt>
                <c:pt idx="3159" formatCode="0.00">
                  <c:v>6.55</c:v>
                </c:pt>
                <c:pt idx="3160" formatCode="0.00">
                  <c:v>6.55</c:v>
                </c:pt>
                <c:pt idx="3161" formatCode="0.00">
                  <c:v>6.55</c:v>
                </c:pt>
                <c:pt idx="3162" formatCode="0.00">
                  <c:v>6.54</c:v>
                </c:pt>
                <c:pt idx="3163" formatCode="0.00">
                  <c:v>6.54</c:v>
                </c:pt>
                <c:pt idx="3164" formatCode="0.00">
                  <c:v>6.28</c:v>
                </c:pt>
                <c:pt idx="3165" formatCode="0.00">
                  <c:v>6.29</c:v>
                </c:pt>
                <c:pt idx="3166" formatCode="0.00">
                  <c:v>6.28</c:v>
                </c:pt>
                <c:pt idx="3167" formatCode="0.00">
                  <c:v>6.28</c:v>
                </c:pt>
                <c:pt idx="3168" formatCode="0.00">
                  <c:v>6.28</c:v>
                </c:pt>
                <c:pt idx="3169" formatCode="0.00">
                  <c:v>6.28</c:v>
                </c:pt>
                <c:pt idx="3170" formatCode="0.00">
                  <c:v>6.28</c:v>
                </c:pt>
                <c:pt idx="3171" formatCode="0.00">
                  <c:v>6.28</c:v>
                </c:pt>
                <c:pt idx="3172" formatCode="0.00">
                  <c:v>6.28</c:v>
                </c:pt>
                <c:pt idx="3173" formatCode="0.00">
                  <c:v>6.28</c:v>
                </c:pt>
                <c:pt idx="3174" formatCode="0.00">
                  <c:v>6.28</c:v>
                </c:pt>
                <c:pt idx="3175" formatCode="0.00">
                  <c:v>6.28</c:v>
                </c:pt>
                <c:pt idx="3176" formatCode="0.00">
                  <c:v>6.28</c:v>
                </c:pt>
                <c:pt idx="3177" formatCode="0.00">
                  <c:v>6.28</c:v>
                </c:pt>
                <c:pt idx="3178" formatCode="0.00">
                  <c:v>6.27</c:v>
                </c:pt>
                <c:pt idx="3179" formatCode="0.00">
                  <c:v>6.27</c:v>
                </c:pt>
                <c:pt idx="3180" formatCode="0.00">
                  <c:v>6.26</c:v>
                </c:pt>
                <c:pt idx="3181" formatCode="0.00">
                  <c:v>6.25</c:v>
                </c:pt>
                <c:pt idx="3182" formatCode="0.00">
                  <c:v>6.25</c:v>
                </c:pt>
                <c:pt idx="3183" formatCode="0.00">
                  <c:v>6.02</c:v>
                </c:pt>
                <c:pt idx="3184" formatCode="0.00">
                  <c:v>6</c:v>
                </c:pt>
                <c:pt idx="3185" formatCode="0.00">
                  <c:v>6</c:v>
                </c:pt>
                <c:pt idx="3186" formatCode="0.00">
                  <c:v>6</c:v>
                </c:pt>
                <c:pt idx="3187" formatCode="0.00">
                  <c:v>6</c:v>
                </c:pt>
                <c:pt idx="3188" formatCode="0.00">
                  <c:v>6</c:v>
                </c:pt>
                <c:pt idx="3189" formatCode="0.00">
                  <c:v>6</c:v>
                </c:pt>
                <c:pt idx="3190" formatCode="0.00">
                  <c:v>6</c:v>
                </c:pt>
                <c:pt idx="3191" formatCode="0.00">
                  <c:v>6</c:v>
                </c:pt>
                <c:pt idx="3192" formatCode="0.00">
                  <c:v>6</c:v>
                </c:pt>
                <c:pt idx="3193" formatCode="0.00">
                  <c:v>6</c:v>
                </c:pt>
                <c:pt idx="3194" formatCode="0.00">
                  <c:v>6</c:v>
                </c:pt>
                <c:pt idx="3195" formatCode="0.00">
                  <c:v>6</c:v>
                </c:pt>
                <c:pt idx="3196" formatCode="0.00">
                  <c:v>6</c:v>
                </c:pt>
                <c:pt idx="3197" formatCode="0.00">
                  <c:v>6</c:v>
                </c:pt>
                <c:pt idx="3198" formatCode="0.00">
                  <c:v>6</c:v>
                </c:pt>
                <c:pt idx="3199" formatCode="0.00">
                  <c:v>6</c:v>
                </c:pt>
                <c:pt idx="3200" formatCode="0.00">
                  <c:v>5.77</c:v>
                </c:pt>
                <c:pt idx="3201" formatCode="0.00">
                  <c:v>5.75</c:v>
                </c:pt>
                <c:pt idx="3202" formatCode="0.00">
                  <c:v>5.75</c:v>
                </c:pt>
                <c:pt idx="3203" formatCode="0.00">
                  <c:v>5.75</c:v>
                </c:pt>
                <c:pt idx="3204" formatCode="0.00">
                  <c:v>5.75</c:v>
                </c:pt>
                <c:pt idx="3205" formatCode="0.00">
                  <c:v>5.75</c:v>
                </c:pt>
                <c:pt idx="3206" formatCode="0.00">
                  <c:v>5.75</c:v>
                </c:pt>
                <c:pt idx="3207" formatCode="0.00">
                  <c:v>5.73</c:v>
                </c:pt>
                <c:pt idx="3208" formatCode="0.00">
                  <c:v>5.71</c:v>
                </c:pt>
                <c:pt idx="3209" formatCode="0.00">
                  <c:v>5.7</c:v>
                </c:pt>
                <c:pt idx="3210" formatCode="0.00">
                  <c:v>5.7</c:v>
                </c:pt>
                <c:pt idx="3211" formatCode="0.00">
                  <c:v>5.7</c:v>
                </c:pt>
                <c:pt idx="3212" formatCode="0.00">
                  <c:v>5.7</c:v>
                </c:pt>
                <c:pt idx="3213" formatCode="0.00">
                  <c:v>5.7</c:v>
                </c:pt>
                <c:pt idx="3214" formatCode="0.00">
                  <c:v>5.7</c:v>
                </c:pt>
                <c:pt idx="3215" formatCode="0.00">
                  <c:v>5.7</c:v>
                </c:pt>
                <c:pt idx="3216" formatCode="0.00">
                  <c:v>5.7</c:v>
                </c:pt>
                <c:pt idx="3217" formatCode="0.00">
                  <c:v>5.7</c:v>
                </c:pt>
                <c:pt idx="3218" formatCode="0.00">
                  <c:v>5.7</c:v>
                </c:pt>
                <c:pt idx="3219" formatCode="0.00">
                  <c:v>5.7</c:v>
                </c:pt>
                <c:pt idx="3220" formatCode="0.00">
                  <c:v>5.7</c:v>
                </c:pt>
                <c:pt idx="3221" formatCode="0.00">
                  <c:v>5.7</c:v>
                </c:pt>
                <c:pt idx="3222" formatCode="0.00">
                  <c:v>5.7</c:v>
                </c:pt>
                <c:pt idx="3223" formatCode="0.00">
                  <c:v>5.7</c:v>
                </c:pt>
                <c:pt idx="3224" formatCode="0.00">
                  <c:v>5.7</c:v>
                </c:pt>
                <c:pt idx="3225" formatCode="0.00">
                  <c:v>5.5</c:v>
                </c:pt>
                <c:pt idx="3226" formatCode="0.00">
                  <c:v>5.5</c:v>
                </c:pt>
                <c:pt idx="3227" formatCode="0.00">
                  <c:v>5.5</c:v>
                </c:pt>
                <c:pt idx="3228" formatCode="0.00">
                  <c:v>5.5</c:v>
                </c:pt>
                <c:pt idx="3229" formatCode="0.00">
                  <c:v>5.5</c:v>
                </c:pt>
                <c:pt idx="3230" formatCode="0.00">
                  <c:v>5.5</c:v>
                </c:pt>
                <c:pt idx="3231" formatCode="0.00">
                  <c:v>5.49</c:v>
                </c:pt>
                <c:pt idx="3232" formatCode="0.00">
                  <c:v>5.49</c:v>
                </c:pt>
                <c:pt idx="3233" formatCode="0.00">
                  <c:v>5.49</c:v>
                </c:pt>
                <c:pt idx="3234" formatCode="0.00">
                  <c:v>5.49</c:v>
                </c:pt>
                <c:pt idx="3235" formatCode="0.00">
                  <c:v>5.48</c:v>
                </c:pt>
                <c:pt idx="3236" formatCode="0.00">
                  <c:v>5.45</c:v>
                </c:pt>
                <c:pt idx="3237" formatCode="0.00">
                  <c:v>5.45</c:v>
                </c:pt>
                <c:pt idx="3238" formatCode="0.00">
                  <c:v>5.44</c:v>
                </c:pt>
                <c:pt idx="3239" formatCode="0.00">
                  <c:v>5.44</c:v>
                </c:pt>
                <c:pt idx="3240" formatCode="0.00">
                  <c:v>5.44</c:v>
                </c:pt>
                <c:pt idx="3241" formatCode="0.00">
                  <c:v>5.44</c:v>
                </c:pt>
                <c:pt idx="3242" formatCode="0.00">
                  <c:v>5.44</c:v>
                </c:pt>
                <c:pt idx="3243" formatCode="0.00">
                  <c:v>5.42</c:v>
                </c:pt>
                <c:pt idx="3244" formatCode="0.00">
                  <c:v>5.41</c:v>
                </c:pt>
                <c:pt idx="3245" formatCode="0.00">
                  <c:v>5.22</c:v>
                </c:pt>
                <c:pt idx="3246" formatCode="0.00">
                  <c:v>5.21</c:v>
                </c:pt>
                <c:pt idx="3247" formatCode="0.00">
                  <c:v>5.19</c:v>
                </c:pt>
                <c:pt idx="3248" formatCode="0.00">
                  <c:v>5.19</c:v>
                </c:pt>
                <c:pt idx="3249" formatCode="0.00">
                  <c:v>5.17</c:v>
                </c:pt>
                <c:pt idx="3250" formatCode="0.00">
                  <c:v>5.17</c:v>
                </c:pt>
                <c:pt idx="3251" formatCode="0.00">
                  <c:v>5.17</c:v>
                </c:pt>
                <c:pt idx="3252" formatCode="0.00">
                  <c:v>5.17</c:v>
                </c:pt>
                <c:pt idx="3253" formatCode="0.00">
                  <c:v>5.17</c:v>
                </c:pt>
                <c:pt idx="3254" formatCode="0.00">
                  <c:v>5.17</c:v>
                </c:pt>
                <c:pt idx="3255" formatCode="0.00">
                  <c:v>5.15</c:v>
                </c:pt>
                <c:pt idx="3256" formatCode="0.00">
                  <c:v>5.14</c:v>
                </c:pt>
                <c:pt idx="3257" formatCode="0.00">
                  <c:v>5.14</c:v>
                </c:pt>
                <c:pt idx="3258" formatCode="0.00">
                  <c:v>5.14</c:v>
                </c:pt>
                <c:pt idx="3259" formatCode="0.00">
                  <c:v>5.14</c:v>
                </c:pt>
                <c:pt idx="3260" formatCode="0.00">
                  <c:v>5.12</c:v>
                </c:pt>
                <c:pt idx="3261" formatCode="0.00">
                  <c:v>5.1100000000000003</c:v>
                </c:pt>
                <c:pt idx="3262" formatCode="0.00">
                  <c:v>5.1100000000000003</c:v>
                </c:pt>
                <c:pt idx="3263" formatCode="0.00">
                  <c:v>5.0999999999999996</c:v>
                </c:pt>
                <c:pt idx="3264" formatCode="0.00">
                  <c:v>4.9000000000000004</c:v>
                </c:pt>
                <c:pt idx="3265" formatCode="0.00">
                  <c:v>4.9000000000000004</c:v>
                </c:pt>
                <c:pt idx="3266" formatCode="0.00">
                  <c:v>4.9000000000000004</c:v>
                </c:pt>
                <c:pt idx="3267" formatCode="0.00">
                  <c:v>4.9000000000000004</c:v>
                </c:pt>
                <c:pt idx="3268" formatCode="0.00">
                  <c:v>4.8899999999999997</c:v>
                </c:pt>
                <c:pt idx="3269" formatCode="0.00">
                  <c:v>4.88</c:v>
                </c:pt>
                <c:pt idx="3270" formatCode="0.00">
                  <c:v>4.88</c:v>
                </c:pt>
                <c:pt idx="3271" formatCode="0.00">
                  <c:v>4.88</c:v>
                </c:pt>
                <c:pt idx="3272" formatCode="0.00">
                  <c:v>4.88</c:v>
                </c:pt>
                <c:pt idx="3273" formatCode="0.00">
                  <c:v>4.88</c:v>
                </c:pt>
                <c:pt idx="3274" formatCode="0.00">
                  <c:v>4.88</c:v>
                </c:pt>
                <c:pt idx="3275" formatCode="0.00">
                  <c:v>4.8899999999999997</c:v>
                </c:pt>
                <c:pt idx="3276" formatCode="0.00">
                  <c:v>4.88</c:v>
                </c:pt>
                <c:pt idx="3277" formatCode="0.00">
                  <c:v>4.8600000000000003</c:v>
                </c:pt>
                <c:pt idx="3278" formatCode="0.00">
                  <c:v>4.8499999999999996</c:v>
                </c:pt>
                <c:pt idx="3279" formatCode="0.00">
                  <c:v>4.8499999999999996</c:v>
                </c:pt>
                <c:pt idx="3280" formatCode="0.00">
                  <c:v>4.8499999999999996</c:v>
                </c:pt>
                <c:pt idx="3281" formatCode="0.00">
                  <c:v>4.84</c:v>
                </c:pt>
                <c:pt idx="3282" formatCode="0.00">
                  <c:v>4.83</c:v>
                </c:pt>
                <c:pt idx="3283" formatCode="0.00">
                  <c:v>4.63</c:v>
                </c:pt>
                <c:pt idx="3284" formatCode="0.00">
                  <c:v>4.5999999999999996</c:v>
                </c:pt>
                <c:pt idx="3285" formatCode="0.00">
                  <c:v>4.6100000000000003</c:v>
                </c:pt>
                <c:pt idx="3286" formatCode="0.00">
                  <c:v>4.5999999999999996</c:v>
                </c:pt>
                <c:pt idx="3287" formatCode="0.00">
                  <c:v>4.59</c:v>
                </c:pt>
                <c:pt idx="3288" formatCode="0.00">
                  <c:v>4.58</c:v>
                </c:pt>
                <c:pt idx="3289" formatCode="0.00">
                  <c:v>4.58</c:v>
                </c:pt>
                <c:pt idx="3290" formatCode="0.00">
                  <c:v>4.58</c:v>
                </c:pt>
                <c:pt idx="3291" formatCode="0.00">
                  <c:v>4.58</c:v>
                </c:pt>
                <c:pt idx="3292" formatCode="0.00">
                  <c:v>4.58</c:v>
                </c:pt>
                <c:pt idx="3293" formatCode="0.00">
                  <c:v>4.58</c:v>
                </c:pt>
                <c:pt idx="3294" formatCode="0.00">
                  <c:v>4.58</c:v>
                </c:pt>
                <c:pt idx="3295" formatCode="0.00">
                  <c:v>4.58</c:v>
                </c:pt>
                <c:pt idx="3296" formatCode="0.00">
                  <c:v>4.58</c:v>
                </c:pt>
                <c:pt idx="3297" formatCode="0.00">
                  <c:v>4.58</c:v>
                </c:pt>
                <c:pt idx="3298" formatCode="0.00">
                  <c:v>4.5599999999999996</c:v>
                </c:pt>
                <c:pt idx="3299" formatCode="0.00">
                  <c:v>4.5599999999999996</c:v>
                </c:pt>
                <c:pt idx="3300" formatCode="0.00">
                  <c:v>4.55</c:v>
                </c:pt>
                <c:pt idx="3301" formatCode="0.00">
                  <c:v>4.55</c:v>
                </c:pt>
                <c:pt idx="3302" formatCode="0.00">
                  <c:v>4.55</c:v>
                </c:pt>
                <c:pt idx="3303" formatCode="0.00">
                  <c:v>4.54</c:v>
                </c:pt>
                <c:pt idx="3304" formatCode="0.00">
                  <c:v>4.54</c:v>
                </c:pt>
                <c:pt idx="3305" formatCode="0.00">
                  <c:v>4.53</c:v>
                </c:pt>
                <c:pt idx="3306" formatCode="0.00">
                  <c:v>4.3899999999999997</c:v>
                </c:pt>
                <c:pt idx="3307" formatCode="0.00">
                  <c:v>4.38</c:v>
                </c:pt>
                <c:pt idx="3308" formatCode="0.00">
                  <c:v>4.38</c:v>
                </c:pt>
                <c:pt idx="3309" formatCode="0.00">
                  <c:v>4.3899999999999997</c:v>
                </c:pt>
                <c:pt idx="3310" formatCode="0.00">
                  <c:v>4.38</c:v>
                </c:pt>
                <c:pt idx="3311" formatCode="0.00">
                  <c:v>4.38</c:v>
                </c:pt>
                <c:pt idx="3312" formatCode="0.00">
                  <c:v>4.38</c:v>
                </c:pt>
                <c:pt idx="3313" formatCode="0.00">
                  <c:v>4.3899999999999997</c:v>
                </c:pt>
                <c:pt idx="3314" formatCode="0.00">
                  <c:v>4.3899999999999997</c:v>
                </c:pt>
                <c:pt idx="3315" formatCode="0.00">
                  <c:v>4.3899999999999997</c:v>
                </c:pt>
                <c:pt idx="3316" formatCode="0.00">
                  <c:v>4.3899999999999997</c:v>
                </c:pt>
                <c:pt idx="3317" formatCode="0.00">
                  <c:v>4.3899999999999997</c:v>
                </c:pt>
                <c:pt idx="3318" formatCode="0.00">
                  <c:v>4.38</c:v>
                </c:pt>
                <c:pt idx="3319" formatCode="0.00">
                  <c:v>4.38</c:v>
                </c:pt>
                <c:pt idx="3320" formatCode="0.00">
                  <c:v>4.38</c:v>
                </c:pt>
                <c:pt idx="3321" formatCode="0.00">
                  <c:v>4.37</c:v>
                </c:pt>
                <c:pt idx="3322" formatCode="0.00">
                  <c:v>4.37</c:v>
                </c:pt>
                <c:pt idx="3323" formatCode="0.00">
                  <c:v>4.38</c:v>
                </c:pt>
                <c:pt idx="3324" formatCode="0.00">
                  <c:v>4.38</c:v>
                </c:pt>
                <c:pt idx="3325" formatCode="0.00">
                  <c:v>4.38</c:v>
                </c:pt>
                <c:pt idx="3326" formatCode="0.00">
                  <c:v>4.2</c:v>
                </c:pt>
                <c:pt idx="3327" formatCode="0.00">
                  <c:v>4.2</c:v>
                </c:pt>
                <c:pt idx="3328" formatCode="0.00">
                  <c:v>4.2</c:v>
                </c:pt>
                <c:pt idx="3329" formatCode="0.00">
                  <c:v>4.2</c:v>
                </c:pt>
                <c:pt idx="3330" formatCode="0.00">
                  <c:v>4.2</c:v>
                </c:pt>
                <c:pt idx="3331" formatCode="0.00">
                  <c:v>4.2</c:v>
                </c:pt>
                <c:pt idx="3332" formatCode="0.00">
                  <c:v>4.1900000000000004</c:v>
                </c:pt>
                <c:pt idx="3333" formatCode="0.00">
                  <c:v>4.1900000000000004</c:v>
                </c:pt>
                <c:pt idx="3334" formatCode="0.00">
                  <c:v>4.2</c:v>
                </c:pt>
                <c:pt idx="3335" formatCode="0.00">
                  <c:v>4.2</c:v>
                </c:pt>
                <c:pt idx="3336" formatCode="0.00">
                  <c:v>4.2</c:v>
                </c:pt>
                <c:pt idx="3337" formatCode="0.00">
                  <c:v>4.1900000000000004</c:v>
                </c:pt>
                <c:pt idx="3338" formatCode="0.00">
                  <c:v>4.1900000000000004</c:v>
                </c:pt>
                <c:pt idx="3339" formatCode="0.00">
                  <c:v>4.1900000000000004</c:v>
                </c:pt>
                <c:pt idx="3340" formatCode="0.00">
                  <c:v>4.1900000000000004</c:v>
                </c:pt>
                <c:pt idx="3341" formatCode="0.00">
                  <c:v>4.1900000000000004</c:v>
                </c:pt>
                <c:pt idx="3342" formatCode="0.00">
                  <c:v>4.1900000000000004</c:v>
                </c:pt>
                <c:pt idx="3343" formatCode="0.00">
                  <c:v>4.1900000000000004</c:v>
                </c:pt>
                <c:pt idx="3344" formatCode="0.00">
                  <c:v>4.1900000000000004</c:v>
                </c:pt>
                <c:pt idx="3345" formatCode="0.00">
                  <c:v>4.1900000000000004</c:v>
                </c:pt>
                <c:pt idx="3346" formatCode="0.00">
                  <c:v>3.97</c:v>
                </c:pt>
                <c:pt idx="3347" formatCode="0.00">
                  <c:v>3.96</c:v>
                </c:pt>
                <c:pt idx="3348" formatCode="0.00">
                  <c:v>3.96</c:v>
                </c:pt>
                <c:pt idx="3349" formatCode="0.00">
                  <c:v>3.96</c:v>
                </c:pt>
                <c:pt idx="3350" formatCode="0.00">
                  <c:v>3.95</c:v>
                </c:pt>
                <c:pt idx="3351" formatCode="0.00">
                  <c:v>3.95</c:v>
                </c:pt>
                <c:pt idx="3352" formatCode="0.00">
                  <c:v>3.95</c:v>
                </c:pt>
                <c:pt idx="3353" formatCode="0.00">
                  <c:v>3.95</c:v>
                </c:pt>
                <c:pt idx="3354" formatCode="0.00">
                  <c:v>3.95</c:v>
                </c:pt>
                <c:pt idx="3355" formatCode="0.00">
                  <c:v>3.95</c:v>
                </c:pt>
                <c:pt idx="3356" formatCode="0.00">
                  <c:v>3.95</c:v>
                </c:pt>
                <c:pt idx="3357" formatCode="0.00">
                  <c:v>3.95</c:v>
                </c:pt>
                <c:pt idx="3358" formatCode="0.00">
                  <c:v>3.95</c:v>
                </c:pt>
                <c:pt idx="3359" formatCode="0.00">
                  <c:v>3.95</c:v>
                </c:pt>
                <c:pt idx="3360" formatCode="0.00">
                  <c:v>3.95</c:v>
                </c:pt>
                <c:pt idx="3361" formatCode="0.00">
                  <c:v>3.95</c:v>
                </c:pt>
                <c:pt idx="3362" formatCode="0.00">
                  <c:v>3.95</c:v>
                </c:pt>
                <c:pt idx="3363" formatCode="0.00">
                  <c:v>3.95</c:v>
                </c:pt>
                <c:pt idx="3364" formatCode="0.00">
                  <c:v>3.95</c:v>
                </c:pt>
                <c:pt idx="3365" formatCode="0.00">
                  <c:v>3.95</c:v>
                </c:pt>
                <c:pt idx="3366" formatCode="0.00">
                  <c:v>3.95</c:v>
                </c:pt>
                <c:pt idx="3367" formatCode="0.00">
                  <c:v>3.95</c:v>
                </c:pt>
                <c:pt idx="3368" formatCode="0.00">
                  <c:v>3.95</c:v>
                </c:pt>
                <c:pt idx="3369" formatCode="0.00">
                  <c:v>3.95</c:v>
                </c:pt>
                <c:pt idx="3370" formatCode="0.00">
                  <c:v>3.78</c:v>
                </c:pt>
                <c:pt idx="3371" formatCode="0.00">
                  <c:v>3.76</c:v>
                </c:pt>
                <c:pt idx="3372" formatCode="0.00">
                  <c:v>3.76</c:v>
                </c:pt>
                <c:pt idx="3373" formatCode="0.00">
                  <c:v>3.76</c:v>
                </c:pt>
                <c:pt idx="3374" formatCode="0.00">
                  <c:v>3.75</c:v>
                </c:pt>
                <c:pt idx="3375" formatCode="0.00">
                  <c:v>3.75</c:v>
                </c:pt>
                <c:pt idx="3376" formatCode="0.00">
                  <c:v>3.75</c:v>
                </c:pt>
                <c:pt idx="3377" formatCode="0.00">
                  <c:v>3.75</c:v>
                </c:pt>
                <c:pt idx="3378" formatCode="0.00">
                  <c:v>3.75</c:v>
                </c:pt>
                <c:pt idx="3379" formatCode="0.00">
                  <c:v>3.75</c:v>
                </c:pt>
                <c:pt idx="3380" formatCode="0.00">
                  <c:v>3.75</c:v>
                </c:pt>
                <c:pt idx="3381" formatCode="0.00">
                  <c:v>3.75</c:v>
                </c:pt>
                <c:pt idx="3382" formatCode="0.00">
                  <c:v>3.75</c:v>
                </c:pt>
                <c:pt idx="3383" formatCode="0.00">
                  <c:v>3.75</c:v>
                </c:pt>
                <c:pt idx="3384" formatCode="0.00">
                  <c:v>3.75</c:v>
                </c:pt>
                <c:pt idx="3385" formatCode="0.00">
                  <c:v>3.75</c:v>
                </c:pt>
                <c:pt idx="3386" formatCode="0.00">
                  <c:v>3.75</c:v>
                </c:pt>
                <c:pt idx="3387" formatCode="0.00">
                  <c:v>3.75</c:v>
                </c:pt>
                <c:pt idx="3388" formatCode="0.00">
                  <c:v>3.75</c:v>
                </c:pt>
                <c:pt idx="3389" formatCode="0.00">
                  <c:v>3.75</c:v>
                </c:pt>
                <c:pt idx="3390" formatCode="0.00">
                  <c:v>3.59</c:v>
                </c:pt>
                <c:pt idx="3391" formatCode="0.00">
                  <c:v>3.58</c:v>
                </c:pt>
                <c:pt idx="3392" formatCode="0.00">
                  <c:v>3.57</c:v>
                </c:pt>
                <c:pt idx="3393" formatCode="0.00">
                  <c:v>3.56</c:v>
                </c:pt>
                <c:pt idx="3394" formatCode="0.00">
                  <c:v>3.56</c:v>
                </c:pt>
                <c:pt idx="3395" formatCode="0.00">
                  <c:v>3.56</c:v>
                </c:pt>
                <c:pt idx="3396" formatCode="0.00">
                  <c:v>3.55</c:v>
                </c:pt>
                <c:pt idx="3397" formatCode="0.00">
                  <c:v>3.55</c:v>
                </c:pt>
                <c:pt idx="3398" formatCode="0.00">
                  <c:v>3.55</c:v>
                </c:pt>
                <c:pt idx="3399" formatCode="0.00">
                  <c:v>3.55</c:v>
                </c:pt>
                <c:pt idx="3400" formatCode="0.00">
                  <c:v>3.55</c:v>
                </c:pt>
                <c:pt idx="3401" formatCode="0.00">
                  <c:v>3.55</c:v>
                </c:pt>
                <c:pt idx="3402" formatCode="0.00">
                  <c:v>3.55</c:v>
                </c:pt>
                <c:pt idx="3403" formatCode="0.00">
                  <c:v>3.55</c:v>
                </c:pt>
                <c:pt idx="3404" formatCode="0.00">
                  <c:v>3.55</c:v>
                </c:pt>
                <c:pt idx="3405" formatCode="0.00">
                  <c:v>3.55</c:v>
                </c:pt>
                <c:pt idx="3406" formatCode="0.00">
                  <c:v>3.55</c:v>
                </c:pt>
                <c:pt idx="3407" formatCode="0.00">
                  <c:v>3.55</c:v>
                </c:pt>
                <c:pt idx="3408" formatCode="0.00">
                  <c:v>3.55</c:v>
                </c:pt>
                <c:pt idx="3409" formatCode="0.00">
                  <c:v>3.55</c:v>
                </c:pt>
                <c:pt idx="3410" formatCode="0.00">
                  <c:v>3.55</c:v>
                </c:pt>
                <c:pt idx="3411" formatCode="0.00">
                  <c:v>3.54</c:v>
                </c:pt>
                <c:pt idx="3412" formatCode="0.00">
                  <c:v>3.54</c:v>
                </c:pt>
                <c:pt idx="3413" formatCode="0.00">
                  <c:v>3.54</c:v>
                </c:pt>
                <c:pt idx="3414" formatCode="0.00">
                  <c:v>3.37</c:v>
                </c:pt>
                <c:pt idx="3415" formatCode="0.00">
                  <c:v>3.35</c:v>
                </c:pt>
                <c:pt idx="3416" formatCode="0.00">
                  <c:v>3.35</c:v>
                </c:pt>
                <c:pt idx="3417" formatCode="0.00">
                  <c:v>3.35</c:v>
                </c:pt>
                <c:pt idx="3418" formatCode="0.00">
                  <c:v>3.35</c:v>
                </c:pt>
                <c:pt idx="3419" formatCode="0.00">
                  <c:v>3.36</c:v>
                </c:pt>
                <c:pt idx="3420" formatCode="0.00">
                  <c:v>3.36</c:v>
                </c:pt>
                <c:pt idx="3421" formatCode="0.00">
                  <c:v>3.35</c:v>
                </c:pt>
                <c:pt idx="3422" formatCode="0.00">
                  <c:v>3.35</c:v>
                </c:pt>
                <c:pt idx="3423" formatCode="0.00">
                  <c:v>3.35</c:v>
                </c:pt>
                <c:pt idx="3424" formatCode="0.00">
                  <c:v>3.35</c:v>
                </c:pt>
                <c:pt idx="3425" formatCode="0.00">
                  <c:v>3.35</c:v>
                </c:pt>
                <c:pt idx="3426" formatCode="0.00">
                  <c:v>3.35</c:v>
                </c:pt>
                <c:pt idx="3427" formatCode="0.00">
                  <c:v>3.35</c:v>
                </c:pt>
                <c:pt idx="3428" formatCode="0.00">
                  <c:v>3.35</c:v>
                </c:pt>
                <c:pt idx="3429" formatCode="0.00">
                  <c:v>3.34</c:v>
                </c:pt>
                <c:pt idx="3430" formatCode="0.00">
                  <c:v>3.35</c:v>
                </c:pt>
                <c:pt idx="3431" formatCode="0.00">
                  <c:v>3.35</c:v>
                </c:pt>
                <c:pt idx="3432" formatCode="0.00">
                  <c:v>3.34</c:v>
                </c:pt>
                <c:pt idx="3433" formatCode="0.00">
                  <c:v>3.17</c:v>
                </c:pt>
                <c:pt idx="3434" formatCode="0.00">
                  <c:v>3.18</c:v>
                </c:pt>
                <c:pt idx="3435" formatCode="0.00">
                  <c:v>3.19</c:v>
                </c:pt>
                <c:pt idx="3436" formatCode="0.00">
                  <c:v>3.18</c:v>
                </c:pt>
                <c:pt idx="3437" formatCode="0.00">
                  <c:v>3.19</c:v>
                </c:pt>
                <c:pt idx="3438" formatCode="0.00">
                  <c:v>3.19</c:v>
                </c:pt>
                <c:pt idx="3439" formatCode="0.00">
                  <c:v>3.18</c:v>
                </c:pt>
                <c:pt idx="3440" formatCode="0.00">
                  <c:v>3.18</c:v>
                </c:pt>
                <c:pt idx="3441" formatCode="0.00">
                  <c:v>3.18</c:v>
                </c:pt>
                <c:pt idx="3442" formatCode="0.00">
                  <c:v>3.17</c:v>
                </c:pt>
                <c:pt idx="3443" formatCode="0.00">
                  <c:v>3.17</c:v>
                </c:pt>
                <c:pt idx="3444" formatCode="0.00">
                  <c:v>3.17</c:v>
                </c:pt>
                <c:pt idx="3445" formatCode="0.00">
                  <c:v>3.17</c:v>
                </c:pt>
                <c:pt idx="3446" formatCode="0.00">
                  <c:v>3.17</c:v>
                </c:pt>
                <c:pt idx="3447" formatCode="0.00">
                  <c:v>3.17</c:v>
                </c:pt>
                <c:pt idx="3448" formatCode="0.00">
                  <c:v>3.17</c:v>
                </c:pt>
                <c:pt idx="3449" formatCode="0.00">
                  <c:v>2.99</c:v>
                </c:pt>
                <c:pt idx="3450" formatCode="0.00">
                  <c:v>2.99</c:v>
                </c:pt>
                <c:pt idx="3451" formatCode="0.00">
                  <c:v>2.99</c:v>
                </c:pt>
                <c:pt idx="3452" formatCode="0.00">
                  <c:v>2.99</c:v>
                </c:pt>
                <c:pt idx="3453" formatCode="0.00">
                  <c:v>2.99</c:v>
                </c:pt>
                <c:pt idx="3454" formatCode="0.00">
                  <c:v>2.99</c:v>
                </c:pt>
                <c:pt idx="3455" formatCode="0.00">
                  <c:v>2.99</c:v>
                </c:pt>
                <c:pt idx="3456" formatCode="0.00">
                  <c:v>2.99</c:v>
                </c:pt>
                <c:pt idx="3457" formatCode="0.00">
                  <c:v>2.99</c:v>
                </c:pt>
                <c:pt idx="3458" formatCode="0.00">
                  <c:v>2.99</c:v>
                </c:pt>
                <c:pt idx="3459" formatCode="0.00">
                  <c:v>2.99</c:v>
                </c:pt>
                <c:pt idx="3460" formatCode="0.00">
                  <c:v>2.99</c:v>
                </c:pt>
                <c:pt idx="3461" formatCode="0.00">
                  <c:v>2.99</c:v>
                </c:pt>
                <c:pt idx="3462" formatCode="0.00">
                  <c:v>2.99</c:v>
                </c:pt>
                <c:pt idx="3463" formatCode="0.00">
                  <c:v>2.99</c:v>
                </c:pt>
                <c:pt idx="3464" formatCode="0.00">
                  <c:v>2.99</c:v>
                </c:pt>
                <c:pt idx="3465" formatCode="0.00">
                  <c:v>2.99</c:v>
                </c:pt>
                <c:pt idx="3466" formatCode="0.00">
                  <c:v>2.99</c:v>
                </c:pt>
                <c:pt idx="3467" formatCode="0.00">
                  <c:v>2.98</c:v>
                </c:pt>
                <c:pt idx="3468" formatCode="0.00">
                  <c:v>2.97</c:v>
                </c:pt>
                <c:pt idx="3469" formatCode="0.00">
                  <c:v>2.97</c:v>
                </c:pt>
                <c:pt idx="3470" formatCode="0.00">
                  <c:v>2.82</c:v>
                </c:pt>
                <c:pt idx="3471" formatCode="0.00">
                  <c:v>2.81</c:v>
                </c:pt>
                <c:pt idx="3472" formatCode="0.00">
                  <c:v>2.81</c:v>
                </c:pt>
                <c:pt idx="3473" formatCode="0.00">
                  <c:v>2.81</c:v>
                </c:pt>
                <c:pt idx="3474" formatCode="0.00">
                  <c:v>2.81</c:v>
                </c:pt>
                <c:pt idx="3475" formatCode="0.00">
                  <c:v>2.81</c:v>
                </c:pt>
                <c:pt idx="3476" formatCode="0.00">
                  <c:v>2.82</c:v>
                </c:pt>
                <c:pt idx="3477" formatCode="0.00">
                  <c:v>2.83</c:v>
                </c:pt>
                <c:pt idx="3478" formatCode="0.00">
                  <c:v>2.85</c:v>
                </c:pt>
                <c:pt idx="3479" formatCode="0.00">
                  <c:v>2.85</c:v>
                </c:pt>
                <c:pt idx="3480" formatCode="0.00">
                  <c:v>2.85</c:v>
                </c:pt>
                <c:pt idx="3481" formatCode="0.00">
                  <c:v>2.85</c:v>
                </c:pt>
                <c:pt idx="3482" formatCode="0.00">
                  <c:v>2.85</c:v>
                </c:pt>
                <c:pt idx="3483" formatCode="0.00">
                  <c:v>2.85</c:v>
                </c:pt>
                <c:pt idx="3484" formatCode="0.00">
                  <c:v>2.85</c:v>
                </c:pt>
                <c:pt idx="3485" formatCode="0.00">
                  <c:v>2.85</c:v>
                </c:pt>
                <c:pt idx="3486" formatCode="0.00">
                  <c:v>2.85</c:v>
                </c:pt>
                <c:pt idx="3487" formatCode="0.00">
                  <c:v>2.85</c:v>
                </c:pt>
                <c:pt idx="3488" formatCode="0.00">
                  <c:v>2.85</c:v>
                </c:pt>
                <c:pt idx="3489" formatCode="0.00">
                  <c:v>2.85</c:v>
                </c:pt>
                <c:pt idx="3490" formatCode="0.00">
                  <c:v>2.73</c:v>
                </c:pt>
                <c:pt idx="3491" formatCode="0.00">
                  <c:v>2.73</c:v>
                </c:pt>
                <c:pt idx="3492" formatCode="0.00">
                  <c:v>2.74</c:v>
                </c:pt>
                <c:pt idx="3493" formatCode="0.00">
                  <c:v>2.74</c:v>
                </c:pt>
                <c:pt idx="3494" formatCode="0.00">
                  <c:v>2.74</c:v>
                </c:pt>
                <c:pt idx="3495" formatCode="0.00">
                  <c:v>2.75</c:v>
                </c:pt>
                <c:pt idx="3496" formatCode="0.00">
                  <c:v>2.75</c:v>
                </c:pt>
                <c:pt idx="3497" formatCode="0.00">
                  <c:v>2.75</c:v>
                </c:pt>
                <c:pt idx="3498" formatCode="0.00">
                  <c:v>2.75</c:v>
                </c:pt>
                <c:pt idx="3499" formatCode="0.00">
                  <c:v>2.75</c:v>
                </c:pt>
                <c:pt idx="3500" formatCode="0.00">
                  <c:v>2.75</c:v>
                </c:pt>
                <c:pt idx="3501" formatCode="0.00">
                  <c:v>2.75</c:v>
                </c:pt>
                <c:pt idx="3502" formatCode="0.00">
                  <c:v>2.75</c:v>
                </c:pt>
                <c:pt idx="3503" formatCode="0.00">
                  <c:v>2.74</c:v>
                </c:pt>
                <c:pt idx="3504" formatCode="0.00">
                  <c:v>2.74</c:v>
                </c:pt>
                <c:pt idx="3505" formatCode="0.00">
                  <c:v>2.74</c:v>
                </c:pt>
                <c:pt idx="3506" formatCode="0.00">
                  <c:v>2.74</c:v>
                </c:pt>
                <c:pt idx="3507" formatCode="0.00">
                  <c:v>2.75</c:v>
                </c:pt>
                <c:pt idx="3508" formatCode="0.00">
                  <c:v>2.74</c:v>
                </c:pt>
                <c:pt idx="3509" formatCode="0.00">
                  <c:v>2.74</c:v>
                </c:pt>
                <c:pt idx="3510" formatCode="0.00">
                  <c:v>2.75</c:v>
                </c:pt>
                <c:pt idx="3511" formatCode="0.00">
                  <c:v>2.75</c:v>
                </c:pt>
                <c:pt idx="3512" formatCode="0.00">
                  <c:v>2.75</c:v>
                </c:pt>
                <c:pt idx="3513" formatCode="0.00">
                  <c:v>2.75</c:v>
                </c:pt>
                <c:pt idx="3514" formatCode="0.00">
                  <c:v>2.74</c:v>
                </c:pt>
                <c:pt idx="3515" formatCode="0.00">
                  <c:v>2.68</c:v>
                </c:pt>
                <c:pt idx="3516" formatCode="0.00">
                  <c:v>2.68</c:v>
                </c:pt>
                <c:pt idx="3517" formatCode="0.00">
                  <c:v>2.68</c:v>
                </c:pt>
                <c:pt idx="3518" formatCode="0.00">
                  <c:v>2.67</c:v>
                </c:pt>
                <c:pt idx="3519" formatCode="0.00">
                  <c:v>2.68</c:v>
                </c:pt>
                <c:pt idx="3520" formatCode="0.00">
                  <c:v>2.67</c:v>
                </c:pt>
                <c:pt idx="3521" formatCode="0.00">
                  <c:v>2.67</c:v>
                </c:pt>
                <c:pt idx="3522" formatCode="0.00">
                  <c:v>2.67</c:v>
                </c:pt>
                <c:pt idx="3523" formatCode="0.00">
                  <c:v>2.66</c:v>
                </c:pt>
                <c:pt idx="3524" formatCode="0.00">
                  <c:v>2.66</c:v>
                </c:pt>
                <c:pt idx="3525" formatCode="0.00">
                  <c:v>2.66</c:v>
                </c:pt>
                <c:pt idx="3526" formatCode="0.00">
                  <c:v>2.66</c:v>
                </c:pt>
                <c:pt idx="3527" formatCode="0.00">
                  <c:v>2.66</c:v>
                </c:pt>
                <c:pt idx="3528" formatCode="0.00">
                  <c:v>2.66</c:v>
                </c:pt>
                <c:pt idx="3529" formatCode="0.00">
                  <c:v>2.66</c:v>
                </c:pt>
                <c:pt idx="3530" formatCode="0.00">
                  <c:v>2.65</c:v>
                </c:pt>
                <c:pt idx="3531" formatCode="0.00">
                  <c:v>2.65</c:v>
                </c:pt>
                <c:pt idx="3532" formatCode="0.00">
                  <c:v>2.66</c:v>
                </c:pt>
                <c:pt idx="3533" formatCode="0.00">
                  <c:v>2.66</c:v>
                </c:pt>
                <c:pt idx="3534" formatCode="0.00">
                  <c:v>2.66</c:v>
                </c:pt>
                <c:pt idx="3535" formatCode="0.00">
                  <c:v>2.66</c:v>
                </c:pt>
                <c:pt idx="3536" formatCode="0.00">
                  <c:v>2.65</c:v>
                </c:pt>
                <c:pt idx="3537" formatCode="0.00">
                  <c:v>2.65</c:v>
                </c:pt>
                <c:pt idx="3538" formatCode="0.00">
                  <c:v>2.65</c:v>
                </c:pt>
                <c:pt idx="3539" formatCode="0.00">
                  <c:v>2.56</c:v>
                </c:pt>
                <c:pt idx="3540" formatCode="0.00">
                  <c:v>2.5499999999999998</c:v>
                </c:pt>
                <c:pt idx="3541" formatCode="0.00">
                  <c:v>2.5499999999999998</c:v>
                </c:pt>
                <c:pt idx="3542" formatCode="0.00">
                  <c:v>2.5499999999999998</c:v>
                </c:pt>
                <c:pt idx="3543" formatCode="0.00">
                  <c:v>2.5499999999999998</c:v>
                </c:pt>
                <c:pt idx="3544" formatCode="0.00">
                  <c:v>2.5499999999999998</c:v>
                </c:pt>
                <c:pt idx="3545" formatCode="0.00">
                  <c:v>2.5299999999999998</c:v>
                </c:pt>
                <c:pt idx="3546" formatCode="0.00">
                  <c:v>2.5299999999999998</c:v>
                </c:pt>
                <c:pt idx="3547" formatCode="0.00">
                  <c:v>2.54</c:v>
                </c:pt>
                <c:pt idx="3548" formatCode="0.00">
                  <c:v>2.54</c:v>
                </c:pt>
                <c:pt idx="3549" formatCode="0.00">
                  <c:v>2.5499999999999998</c:v>
                </c:pt>
                <c:pt idx="3550" formatCode="0.00">
                  <c:v>2.5499999999999998</c:v>
                </c:pt>
                <c:pt idx="3551" formatCode="0.00">
                  <c:v>2.54</c:v>
                </c:pt>
                <c:pt idx="3552" formatCode="0.00">
                  <c:v>2.54</c:v>
                </c:pt>
                <c:pt idx="3553" formatCode="0.00">
                  <c:v>2.54</c:v>
                </c:pt>
                <c:pt idx="3554" formatCode="0.00">
                  <c:v>2.5499999999999998</c:v>
                </c:pt>
                <c:pt idx="3555" formatCode="0.00">
                  <c:v>2.5499999999999998</c:v>
                </c:pt>
                <c:pt idx="3556" formatCode="0.00">
                  <c:v>2.5499999999999998</c:v>
                </c:pt>
                <c:pt idx="3557" formatCode="0.00">
                  <c:v>2.54</c:v>
                </c:pt>
                <c:pt idx="3558" formatCode="0.00">
                  <c:v>2.46</c:v>
                </c:pt>
                <c:pt idx="3559" formatCode="0.00">
                  <c:v>2.4500000000000002</c:v>
                </c:pt>
                <c:pt idx="3560" formatCode="0.00">
                  <c:v>2.4500000000000002</c:v>
                </c:pt>
                <c:pt idx="3561" formatCode="0.00">
                  <c:v>2.4500000000000002</c:v>
                </c:pt>
                <c:pt idx="3562" formatCode="0.00">
                  <c:v>2.4500000000000002</c:v>
                </c:pt>
                <c:pt idx="3563" formatCode="0.00">
                  <c:v>2.4500000000000002</c:v>
                </c:pt>
                <c:pt idx="3564" formatCode="0.00">
                  <c:v>2.4500000000000002</c:v>
                </c:pt>
                <c:pt idx="3565" formatCode="0.00">
                  <c:v>2.4500000000000002</c:v>
                </c:pt>
                <c:pt idx="3566" formatCode="0.00">
                  <c:v>2.4500000000000002</c:v>
                </c:pt>
                <c:pt idx="3567" formatCode="0.00">
                  <c:v>2.44</c:v>
                </c:pt>
                <c:pt idx="3568" formatCode="0.00">
                  <c:v>2.4300000000000002</c:v>
                </c:pt>
                <c:pt idx="3569" formatCode="0.00">
                  <c:v>2.4300000000000002</c:v>
                </c:pt>
                <c:pt idx="3570" formatCode="0.00">
                  <c:v>2.42</c:v>
                </c:pt>
                <c:pt idx="3571" formatCode="0.00">
                  <c:v>2.42</c:v>
                </c:pt>
                <c:pt idx="3572" formatCode="0.00">
                  <c:v>2.4300000000000002</c:v>
                </c:pt>
                <c:pt idx="3573" formatCode="0.00">
                  <c:v>2.4300000000000002</c:v>
                </c:pt>
                <c:pt idx="3574" formatCode="0.00">
                  <c:v>2.4300000000000002</c:v>
                </c:pt>
                <c:pt idx="3575" formatCode="0.00">
                  <c:v>2.4300000000000002</c:v>
                </c:pt>
                <c:pt idx="3576" formatCode="0.00">
                  <c:v>2.4300000000000002</c:v>
                </c:pt>
                <c:pt idx="3577" formatCode="0.00">
                  <c:v>2.34</c:v>
                </c:pt>
                <c:pt idx="3578" formatCode="0.00">
                  <c:v>2.34</c:v>
                </c:pt>
                <c:pt idx="3579" formatCode="0.00">
                  <c:v>2.35</c:v>
                </c:pt>
                <c:pt idx="3580" formatCode="0.00">
                  <c:v>2.34</c:v>
                </c:pt>
                <c:pt idx="3581" formatCode="0.00">
                  <c:v>2.34</c:v>
                </c:pt>
                <c:pt idx="3582" formatCode="0.00">
                  <c:v>2.34</c:v>
                </c:pt>
                <c:pt idx="3583" formatCode="0.00">
                  <c:v>2.34</c:v>
                </c:pt>
                <c:pt idx="3584" formatCode="0.00">
                  <c:v>2.34</c:v>
                </c:pt>
                <c:pt idx="3585" formatCode="0.00">
                  <c:v>2.34</c:v>
                </c:pt>
                <c:pt idx="3586" formatCode="0.00">
                  <c:v>2.34</c:v>
                </c:pt>
                <c:pt idx="3587" formatCode="0.00">
                  <c:v>2.33</c:v>
                </c:pt>
                <c:pt idx="3588" formatCode="0.00">
                  <c:v>2.33</c:v>
                </c:pt>
                <c:pt idx="3589" formatCode="0.00">
                  <c:v>2.31</c:v>
                </c:pt>
                <c:pt idx="3590" formatCode="0.00">
                  <c:v>2.2999999999999998</c:v>
                </c:pt>
                <c:pt idx="3591" formatCode="0.00">
                  <c:v>2.2999999999999998</c:v>
                </c:pt>
                <c:pt idx="3592" formatCode="0.00">
                  <c:v>2.2999999999999998</c:v>
                </c:pt>
                <c:pt idx="3593" formatCode="0.00">
                  <c:v>2.2999999999999998</c:v>
                </c:pt>
                <c:pt idx="3594" formatCode="0.00">
                  <c:v>2.2999999999999998</c:v>
                </c:pt>
                <c:pt idx="3595" formatCode="0.00">
                  <c:v>2.2999999999999998</c:v>
                </c:pt>
                <c:pt idx="3596" formatCode="0.00">
                  <c:v>2.2999999999999998</c:v>
                </c:pt>
                <c:pt idx="3597" formatCode="0.00">
                  <c:v>2.14</c:v>
                </c:pt>
                <c:pt idx="3598" formatCode="0.00">
                  <c:v>2.13</c:v>
                </c:pt>
                <c:pt idx="3599" formatCode="0.00">
                  <c:v>2.13</c:v>
                </c:pt>
                <c:pt idx="3600" formatCode="0.00">
                  <c:v>2.14</c:v>
                </c:pt>
                <c:pt idx="3601" formatCode="0.00">
                  <c:v>2.14</c:v>
                </c:pt>
                <c:pt idx="3602" formatCode="0.00">
                  <c:v>2.14</c:v>
                </c:pt>
                <c:pt idx="3603" formatCode="0.00">
                  <c:v>2.14</c:v>
                </c:pt>
                <c:pt idx="3604" formatCode="0.00">
                  <c:v>2.15</c:v>
                </c:pt>
                <c:pt idx="3605" formatCode="0.00">
                  <c:v>2.15</c:v>
                </c:pt>
                <c:pt idx="3606" formatCode="0.00">
                  <c:v>2.15</c:v>
                </c:pt>
                <c:pt idx="3607" formatCode="0.00">
                  <c:v>2.15</c:v>
                </c:pt>
                <c:pt idx="3608" formatCode="0.00">
                  <c:v>2.15</c:v>
                </c:pt>
                <c:pt idx="3609" formatCode="0.00">
                  <c:v>2.15</c:v>
                </c:pt>
                <c:pt idx="3610" formatCode="0.00">
                  <c:v>2.15</c:v>
                </c:pt>
                <c:pt idx="3611" formatCode="0.00">
                  <c:v>2.15</c:v>
                </c:pt>
                <c:pt idx="3612" formatCode="0.00">
                  <c:v>2.14</c:v>
                </c:pt>
                <c:pt idx="3613" formatCode="0.00">
                  <c:v>2.14</c:v>
                </c:pt>
                <c:pt idx="3614" formatCode="0.00">
                  <c:v>2.14</c:v>
                </c:pt>
                <c:pt idx="3615" formatCode="0.00">
                  <c:v>2.15</c:v>
                </c:pt>
                <c:pt idx="3616" formatCode="0.00">
                  <c:v>2.15</c:v>
                </c:pt>
                <c:pt idx="3617" formatCode="0.00">
                  <c:v>2.14</c:v>
                </c:pt>
                <c:pt idx="3618" formatCode="0.00">
                  <c:v>2.14</c:v>
                </c:pt>
                <c:pt idx="3619" formatCode="0.00">
                  <c:v>2.14</c:v>
                </c:pt>
                <c:pt idx="3620" formatCode="0.00">
                  <c:v>2.14</c:v>
                </c:pt>
                <c:pt idx="3621" formatCode="0.00">
                  <c:v>2.14</c:v>
                </c:pt>
                <c:pt idx="3622" formatCode="0.00">
                  <c:v>2.14</c:v>
                </c:pt>
                <c:pt idx="3623" formatCode="0.00">
                  <c:v>2.14</c:v>
                </c:pt>
                <c:pt idx="3624" formatCode="0.00">
                  <c:v>2.14</c:v>
                </c:pt>
                <c:pt idx="3625" formatCode="0.00">
                  <c:v>2.13</c:v>
                </c:pt>
                <c:pt idx="3626" formatCode="0.00">
                  <c:v>2.13</c:v>
                </c:pt>
                <c:pt idx="3627" formatCode="0.00">
                  <c:v>2.12</c:v>
                </c:pt>
                <c:pt idx="3628" formatCode="0.00">
                  <c:v>2.12</c:v>
                </c:pt>
                <c:pt idx="3629" formatCode="0.00">
                  <c:v>2.11</c:v>
                </c:pt>
                <c:pt idx="3630" formatCode="0.00">
                  <c:v>2.12</c:v>
                </c:pt>
                <c:pt idx="3631" formatCode="0.00">
                  <c:v>2.11</c:v>
                </c:pt>
                <c:pt idx="3632" formatCode="0.00">
                  <c:v>2.11</c:v>
                </c:pt>
                <c:pt idx="3633" formatCode="0.00">
                  <c:v>2.11</c:v>
                </c:pt>
                <c:pt idx="3634" formatCode="0.00">
                  <c:v>2.11</c:v>
                </c:pt>
                <c:pt idx="3635" formatCode="0.00">
                  <c:v>2.11</c:v>
                </c:pt>
                <c:pt idx="3636" formatCode="0.00">
                  <c:v>2.09</c:v>
                </c:pt>
                <c:pt idx="3637" formatCode="0.00">
                  <c:v>2.09</c:v>
                </c:pt>
                <c:pt idx="3638" formatCode="0.00">
                  <c:v>2.09</c:v>
                </c:pt>
                <c:pt idx="3639" formatCode="0.00">
                  <c:v>2.09</c:v>
                </c:pt>
                <c:pt idx="3640" formatCode="0.00">
                  <c:v>2.09</c:v>
                </c:pt>
                <c:pt idx="3641" formatCode="0.00">
                  <c:v>2.09</c:v>
                </c:pt>
                <c:pt idx="3642" formatCode="0.00">
                  <c:v>2.09</c:v>
                </c:pt>
                <c:pt idx="3643" formatCode="0.00">
                  <c:v>2.09</c:v>
                </c:pt>
                <c:pt idx="3644" formatCode="0.00">
                  <c:v>2.09</c:v>
                </c:pt>
                <c:pt idx="3645" formatCode="0.00">
                  <c:v>2.09</c:v>
                </c:pt>
                <c:pt idx="3646" formatCode="0.00">
                  <c:v>2.09</c:v>
                </c:pt>
                <c:pt idx="3647" formatCode="0.00">
                  <c:v>2.09</c:v>
                </c:pt>
                <c:pt idx="3648" formatCode="0.00">
                  <c:v>2.09</c:v>
                </c:pt>
                <c:pt idx="3649" formatCode="0.00">
                  <c:v>2.09</c:v>
                </c:pt>
                <c:pt idx="3650" formatCode="0.00">
                  <c:v>2.09</c:v>
                </c:pt>
                <c:pt idx="3651" formatCode="0.00">
                  <c:v>2.1</c:v>
                </c:pt>
                <c:pt idx="3652" formatCode="0.00">
                  <c:v>2.1</c:v>
                </c:pt>
                <c:pt idx="3653" formatCode="0.00">
                  <c:v>2.1</c:v>
                </c:pt>
                <c:pt idx="3654" formatCode="0.00">
                  <c:v>2.1</c:v>
                </c:pt>
                <c:pt idx="3655" formatCode="0.00">
                  <c:v>2.1</c:v>
                </c:pt>
                <c:pt idx="3656" formatCode="0.00">
                  <c:v>2.1</c:v>
                </c:pt>
                <c:pt idx="3657" formatCode="0.00">
                  <c:v>2.1</c:v>
                </c:pt>
                <c:pt idx="3658" formatCode="0.00">
                  <c:v>2.1</c:v>
                </c:pt>
                <c:pt idx="3659" formatCode="0.00">
                  <c:v>2.1</c:v>
                </c:pt>
                <c:pt idx="3660" formatCode="0.00">
                  <c:v>2.1</c:v>
                </c:pt>
                <c:pt idx="3661" formatCode="0.00">
                  <c:v>2.1</c:v>
                </c:pt>
                <c:pt idx="3662" formatCode="0.00">
                  <c:v>2.1</c:v>
                </c:pt>
                <c:pt idx="3663" formatCode="0.00">
                  <c:v>2.1</c:v>
                </c:pt>
                <c:pt idx="3664" formatCode="0.00">
                  <c:v>2.1</c:v>
                </c:pt>
                <c:pt idx="3665" formatCode="0.00">
                  <c:v>2.1</c:v>
                </c:pt>
                <c:pt idx="3666" formatCode="0.00">
                  <c:v>2.1</c:v>
                </c:pt>
                <c:pt idx="3667" formatCode="0.00">
                  <c:v>2.1</c:v>
                </c:pt>
                <c:pt idx="3668" formatCode="0.00">
                  <c:v>2.1</c:v>
                </c:pt>
                <c:pt idx="3669" formatCode="0.00">
                  <c:v>2.1</c:v>
                </c:pt>
                <c:pt idx="3670" formatCode="0.00">
                  <c:v>2.1</c:v>
                </c:pt>
                <c:pt idx="3671" formatCode="0.00">
                  <c:v>2.1</c:v>
                </c:pt>
                <c:pt idx="3672" formatCode="0.00">
                  <c:v>2.1</c:v>
                </c:pt>
                <c:pt idx="3673" formatCode="0.00">
                  <c:v>2.1</c:v>
                </c:pt>
                <c:pt idx="3674" formatCode="0.00">
                  <c:v>2.1</c:v>
                </c:pt>
                <c:pt idx="3675" formatCode="0.00">
                  <c:v>2.1</c:v>
                </c:pt>
                <c:pt idx="3676" formatCode="0.00">
                  <c:v>2.1</c:v>
                </c:pt>
                <c:pt idx="3677" formatCode="0.00">
                  <c:v>2.1</c:v>
                </c:pt>
                <c:pt idx="3678" formatCode="0.00">
                  <c:v>2.1</c:v>
                </c:pt>
                <c:pt idx="3679" formatCode="0.00">
                  <c:v>2.1</c:v>
                </c:pt>
                <c:pt idx="3680" formatCode="0.00">
                  <c:v>2.1</c:v>
                </c:pt>
                <c:pt idx="3681" formatCode="0.00">
                  <c:v>2.1</c:v>
                </c:pt>
                <c:pt idx="3682" formatCode="0.00">
                  <c:v>2.1</c:v>
                </c:pt>
                <c:pt idx="3683" formatCode="0.00">
                  <c:v>2.1</c:v>
                </c:pt>
                <c:pt idx="3684" formatCode="0.00">
                  <c:v>2.1</c:v>
                </c:pt>
                <c:pt idx="3685" formatCode="0.00">
                  <c:v>2.1</c:v>
                </c:pt>
                <c:pt idx="3686" formatCode="0.00">
                  <c:v>2.1</c:v>
                </c:pt>
                <c:pt idx="3687" formatCode="0.00">
                  <c:v>2.1</c:v>
                </c:pt>
                <c:pt idx="3688" formatCode="0.00">
                  <c:v>2.1</c:v>
                </c:pt>
                <c:pt idx="3689" formatCode="0.00">
                  <c:v>2.1</c:v>
                </c:pt>
                <c:pt idx="3690" formatCode="0.00">
                  <c:v>2.1</c:v>
                </c:pt>
                <c:pt idx="3691" formatCode="0.00">
                  <c:v>2.1</c:v>
                </c:pt>
                <c:pt idx="3692" formatCode="0.00">
                  <c:v>2.1</c:v>
                </c:pt>
                <c:pt idx="3693" formatCode="0.00">
                  <c:v>2.1</c:v>
                </c:pt>
                <c:pt idx="3694" formatCode="0.00">
                  <c:v>2.1</c:v>
                </c:pt>
                <c:pt idx="3695" formatCode="0.00">
                  <c:v>2.1</c:v>
                </c:pt>
                <c:pt idx="3696" formatCode="0.00">
                  <c:v>2.1</c:v>
                </c:pt>
                <c:pt idx="3697" formatCode="0.00">
                  <c:v>2.1</c:v>
                </c:pt>
                <c:pt idx="3698" formatCode="0.00">
                  <c:v>2.1</c:v>
                </c:pt>
                <c:pt idx="3699" formatCode="0.00">
                  <c:v>2.1</c:v>
                </c:pt>
                <c:pt idx="3700" formatCode="0.00">
                  <c:v>2.1</c:v>
                </c:pt>
                <c:pt idx="3701" formatCode="0.00">
                  <c:v>2.1</c:v>
                </c:pt>
                <c:pt idx="3702" formatCode="0.00">
                  <c:v>2.1</c:v>
                </c:pt>
                <c:pt idx="3703" formatCode="0.00">
                  <c:v>2.1</c:v>
                </c:pt>
                <c:pt idx="3704" formatCode="0.00">
                  <c:v>2.1</c:v>
                </c:pt>
                <c:pt idx="3705" formatCode="0.00">
                  <c:v>2.1</c:v>
                </c:pt>
                <c:pt idx="3706" formatCode="0.00">
                  <c:v>2.1</c:v>
                </c:pt>
                <c:pt idx="3707" formatCode="0.00">
                  <c:v>2.1</c:v>
                </c:pt>
                <c:pt idx="3708" formatCode="0.00">
                  <c:v>2.1</c:v>
                </c:pt>
                <c:pt idx="3709" formatCode="0.00">
                  <c:v>2.1</c:v>
                </c:pt>
                <c:pt idx="3710" formatCode="0.00">
                  <c:v>2.1</c:v>
                </c:pt>
                <c:pt idx="3711" formatCode="0.00">
                  <c:v>2.1</c:v>
                </c:pt>
                <c:pt idx="3712" formatCode="0.00">
                  <c:v>2.1</c:v>
                </c:pt>
                <c:pt idx="3713" formatCode="0.00">
                  <c:v>2.1</c:v>
                </c:pt>
                <c:pt idx="3714" formatCode="0.00">
                  <c:v>2.1</c:v>
                </c:pt>
                <c:pt idx="3715" formatCode="0.00">
                  <c:v>2.1</c:v>
                </c:pt>
                <c:pt idx="3716" formatCode="0.00">
                  <c:v>2.1</c:v>
                </c:pt>
                <c:pt idx="3717" formatCode="0.00">
                  <c:v>2.1</c:v>
                </c:pt>
                <c:pt idx="3718" formatCode="0.00">
                  <c:v>2.1</c:v>
                </c:pt>
                <c:pt idx="3719" formatCode="0.00">
                  <c:v>2.1</c:v>
                </c:pt>
                <c:pt idx="3720" formatCode="0.00">
                  <c:v>2.1</c:v>
                </c:pt>
                <c:pt idx="3721" formatCode="0.00">
                  <c:v>2.1</c:v>
                </c:pt>
                <c:pt idx="3722" formatCode="0.00">
                  <c:v>2.1</c:v>
                </c:pt>
                <c:pt idx="3723" formatCode="0.00">
                  <c:v>2.1</c:v>
                </c:pt>
                <c:pt idx="3724" formatCode="0.00">
                  <c:v>2.1</c:v>
                </c:pt>
                <c:pt idx="3725" formatCode="0.00">
                  <c:v>2.1</c:v>
                </c:pt>
                <c:pt idx="3726" formatCode="0.00">
                  <c:v>2.1</c:v>
                </c:pt>
                <c:pt idx="3727" formatCode="0.00">
                  <c:v>2.1</c:v>
                </c:pt>
                <c:pt idx="3728" formatCode="0.00">
                  <c:v>2.1</c:v>
                </c:pt>
                <c:pt idx="3729" formatCode="0.00">
                  <c:v>2.1</c:v>
                </c:pt>
                <c:pt idx="3730" formatCode="0.00">
                  <c:v>2.1</c:v>
                </c:pt>
                <c:pt idx="3731" formatCode="0.00">
                  <c:v>2.1</c:v>
                </c:pt>
                <c:pt idx="3732" formatCode="0.00">
                  <c:v>2.1</c:v>
                </c:pt>
                <c:pt idx="3733" formatCode="0.00">
                  <c:v>2.1</c:v>
                </c:pt>
                <c:pt idx="3734" formatCode="0.00">
                  <c:v>2.1</c:v>
                </c:pt>
                <c:pt idx="3735" formatCode="0.00">
                  <c:v>2.1</c:v>
                </c:pt>
                <c:pt idx="3736" formatCode="0.00">
                  <c:v>2.1</c:v>
                </c:pt>
                <c:pt idx="3737" formatCode="0.00">
                  <c:v>2.1</c:v>
                </c:pt>
                <c:pt idx="3738" formatCode="0.00">
                  <c:v>2.1</c:v>
                </c:pt>
                <c:pt idx="3739" formatCode="0.00">
                  <c:v>2.1</c:v>
                </c:pt>
                <c:pt idx="3740" formatCode="0.00">
                  <c:v>2.1</c:v>
                </c:pt>
                <c:pt idx="3741" formatCode="0.00">
                  <c:v>2.1</c:v>
                </c:pt>
                <c:pt idx="3742" formatCode="0.00">
                  <c:v>2.1</c:v>
                </c:pt>
                <c:pt idx="3743" formatCode="0.00">
                  <c:v>2.1</c:v>
                </c:pt>
                <c:pt idx="3744" formatCode="0.00">
                  <c:v>2.1</c:v>
                </c:pt>
                <c:pt idx="3745" formatCode="0.00">
                  <c:v>2.1</c:v>
                </c:pt>
                <c:pt idx="3746" formatCode="0.00">
                  <c:v>2.1</c:v>
                </c:pt>
                <c:pt idx="3747" formatCode="0.00">
                  <c:v>2.1</c:v>
                </c:pt>
                <c:pt idx="3748" formatCode="0.00">
                  <c:v>2.1</c:v>
                </c:pt>
                <c:pt idx="3749" formatCode="0.00">
                  <c:v>2.1</c:v>
                </c:pt>
                <c:pt idx="3750" formatCode="0.00">
                  <c:v>2.1</c:v>
                </c:pt>
                <c:pt idx="3751" formatCode="0.00">
                  <c:v>2.1</c:v>
                </c:pt>
                <c:pt idx="3752" formatCode="0.00">
                  <c:v>2.1</c:v>
                </c:pt>
                <c:pt idx="3753" formatCode="0.00">
                  <c:v>2.1</c:v>
                </c:pt>
                <c:pt idx="3754" formatCode="0.00">
                  <c:v>2.09</c:v>
                </c:pt>
                <c:pt idx="3755" formatCode="0.00">
                  <c:v>2.08</c:v>
                </c:pt>
                <c:pt idx="3756" formatCode="0.00">
                  <c:v>2.08</c:v>
                </c:pt>
                <c:pt idx="3757" formatCode="0.00">
                  <c:v>2.0699999999999998</c:v>
                </c:pt>
                <c:pt idx="3758" formatCode="0.00">
                  <c:v>2.06</c:v>
                </c:pt>
                <c:pt idx="3759" formatCode="0.00">
                  <c:v>2.06</c:v>
                </c:pt>
                <c:pt idx="3760" formatCode="0.00">
                  <c:v>2.0499999999999998</c:v>
                </c:pt>
                <c:pt idx="3761" formatCode="0.00">
                  <c:v>2.04</c:v>
                </c:pt>
                <c:pt idx="3762" formatCode="0.00">
                  <c:v>2.02</c:v>
                </c:pt>
                <c:pt idx="3763" formatCode="0.00">
                  <c:v>2</c:v>
                </c:pt>
                <c:pt idx="3764" formatCode="0.00">
                  <c:v>1.99</c:v>
                </c:pt>
                <c:pt idx="3765" formatCode="0.00">
                  <c:v>1.97</c:v>
                </c:pt>
                <c:pt idx="3766" formatCode="0.00">
                  <c:v>1.97</c:v>
                </c:pt>
                <c:pt idx="3767" formatCode="0.00">
                  <c:v>1.91</c:v>
                </c:pt>
                <c:pt idx="3768" formatCode="0.00">
                  <c:v>1.9</c:v>
                </c:pt>
                <c:pt idx="3769" formatCode="0.00">
                  <c:v>1.9</c:v>
                </c:pt>
                <c:pt idx="3770" formatCode="0.00">
                  <c:v>1.89</c:v>
                </c:pt>
                <c:pt idx="3771" formatCode="0.00">
                  <c:v>1.89</c:v>
                </c:pt>
                <c:pt idx="3772" formatCode="0.00">
                  <c:v>1.88</c:v>
                </c:pt>
                <c:pt idx="3773" formatCode="0.00">
                  <c:v>1.87</c:v>
                </c:pt>
                <c:pt idx="3774" formatCode="0.00">
                  <c:v>1.86</c:v>
                </c:pt>
                <c:pt idx="3775" formatCode="0.00">
                  <c:v>1.86</c:v>
                </c:pt>
                <c:pt idx="3776" formatCode="0.00">
                  <c:v>1.85</c:v>
                </c:pt>
                <c:pt idx="3777" formatCode="0.00">
                  <c:v>1.84</c:v>
                </c:pt>
                <c:pt idx="3778" formatCode="0.00">
                  <c:v>1.84</c:v>
                </c:pt>
                <c:pt idx="3779" formatCode="0.00">
                  <c:v>1.84</c:v>
                </c:pt>
                <c:pt idx="3780" formatCode="0.00">
                  <c:v>1.84</c:v>
                </c:pt>
                <c:pt idx="3781" formatCode="0.00">
                  <c:v>1.84</c:v>
                </c:pt>
                <c:pt idx="3782" formatCode="0.00">
                  <c:v>1.84</c:v>
                </c:pt>
                <c:pt idx="3783" formatCode="0.00">
                  <c:v>1.84</c:v>
                </c:pt>
                <c:pt idx="3784" formatCode="0.00">
                  <c:v>1.84</c:v>
                </c:pt>
                <c:pt idx="3785" formatCode="0.00">
                  <c:v>1.82</c:v>
                </c:pt>
                <c:pt idx="3786" formatCode="0.00">
                  <c:v>1.74</c:v>
                </c:pt>
                <c:pt idx="3787" formatCode="0.00">
                  <c:v>1.72</c:v>
                </c:pt>
                <c:pt idx="3788" formatCode="0.00">
                  <c:v>1.71</c:v>
                </c:pt>
                <c:pt idx="3789" formatCode="0.00">
                  <c:v>1.71</c:v>
                </c:pt>
                <c:pt idx="3790" formatCode="0.00">
                  <c:v>1.7</c:v>
                </c:pt>
                <c:pt idx="3791" formatCode="0.00">
                  <c:v>1.7</c:v>
                </c:pt>
                <c:pt idx="3792" formatCode="0.00">
                  <c:v>1.7</c:v>
                </c:pt>
                <c:pt idx="3793" formatCode="0.00">
                  <c:v>1.7</c:v>
                </c:pt>
                <c:pt idx="3794" formatCode="0.00">
                  <c:v>1.7</c:v>
                </c:pt>
                <c:pt idx="3795" formatCode="0.00">
                  <c:v>1.7</c:v>
                </c:pt>
                <c:pt idx="3796" formatCode="0.00">
                  <c:v>1.7</c:v>
                </c:pt>
                <c:pt idx="3797" formatCode="0.00">
                  <c:v>1.7</c:v>
                </c:pt>
                <c:pt idx="3798" formatCode="0.00">
                  <c:v>1.7</c:v>
                </c:pt>
                <c:pt idx="3799" formatCode="0.00">
                  <c:v>1.69</c:v>
                </c:pt>
                <c:pt idx="3800" formatCode="0.00">
                  <c:v>1.69</c:v>
                </c:pt>
                <c:pt idx="3801" formatCode="0.00">
                  <c:v>1.69</c:v>
                </c:pt>
                <c:pt idx="3802" formatCode="0.00">
                  <c:v>1.68</c:v>
                </c:pt>
                <c:pt idx="3803" formatCode="0.00">
                  <c:v>1.69</c:v>
                </c:pt>
                <c:pt idx="3804" formatCode="0.00">
                  <c:v>1.69</c:v>
                </c:pt>
                <c:pt idx="3805" formatCode="0.00">
                  <c:v>1.69</c:v>
                </c:pt>
                <c:pt idx="3806" formatCode="0.00">
                  <c:v>1.68</c:v>
                </c:pt>
                <c:pt idx="3807" formatCode="0.00">
                  <c:v>1.68</c:v>
                </c:pt>
                <c:pt idx="3808" formatCode="0.00">
                  <c:v>1.68</c:v>
                </c:pt>
                <c:pt idx="3809" formatCode="0.00">
                  <c:v>1.57</c:v>
                </c:pt>
                <c:pt idx="3810" formatCode="0.00">
                  <c:v>1.55</c:v>
                </c:pt>
                <c:pt idx="3811" formatCode="0.00">
                  <c:v>1.54</c:v>
                </c:pt>
                <c:pt idx="3812" formatCode="0.00">
                  <c:v>1.54</c:v>
                </c:pt>
                <c:pt idx="3813" formatCode="0.00">
                  <c:v>1.54</c:v>
                </c:pt>
                <c:pt idx="3814" formatCode="0.00">
                  <c:v>1.53</c:v>
                </c:pt>
                <c:pt idx="3815" formatCode="0.00">
                  <c:v>1.52</c:v>
                </c:pt>
                <c:pt idx="3816" formatCode="0.00">
                  <c:v>1.52</c:v>
                </c:pt>
                <c:pt idx="3817" formatCode="0.00">
                  <c:v>1.51</c:v>
                </c:pt>
                <c:pt idx="3818" formatCode="0.00">
                  <c:v>1.5</c:v>
                </c:pt>
                <c:pt idx="3819" formatCode="0.00">
                  <c:v>1.5</c:v>
                </c:pt>
                <c:pt idx="3820" formatCode="0.00">
                  <c:v>1.5</c:v>
                </c:pt>
                <c:pt idx="3821" formatCode="0.00">
                  <c:v>1.5</c:v>
                </c:pt>
                <c:pt idx="3822" formatCode="0.00">
                  <c:v>1.5</c:v>
                </c:pt>
                <c:pt idx="3823" formatCode="0.00">
                  <c:v>1.5</c:v>
                </c:pt>
                <c:pt idx="3824" formatCode="0.00">
                  <c:v>1.5</c:v>
                </c:pt>
                <c:pt idx="3825" formatCode="0.00">
                  <c:v>1.5</c:v>
                </c:pt>
                <c:pt idx="3826" formatCode="0.00">
                  <c:v>1.5</c:v>
                </c:pt>
                <c:pt idx="3827" formatCode="0.00">
                  <c:v>1.5</c:v>
                </c:pt>
                <c:pt idx="3828" formatCode="0.00">
                  <c:v>1.5</c:v>
                </c:pt>
                <c:pt idx="3829" formatCode="0.00">
                  <c:v>1.42</c:v>
                </c:pt>
                <c:pt idx="3830" formatCode="0.00">
                  <c:v>1.42</c:v>
                </c:pt>
                <c:pt idx="3831" formatCode="0.00">
                  <c:v>1.42</c:v>
                </c:pt>
                <c:pt idx="3832" formatCode="0.00">
                  <c:v>1.42</c:v>
                </c:pt>
                <c:pt idx="3833" formatCode="0.00">
                  <c:v>1.41</c:v>
                </c:pt>
                <c:pt idx="3834" formatCode="0.00">
                  <c:v>1.41</c:v>
                </c:pt>
                <c:pt idx="3835" formatCode="0.00">
                  <c:v>1.41</c:v>
                </c:pt>
                <c:pt idx="3836" formatCode="0.00">
                  <c:v>1.41</c:v>
                </c:pt>
                <c:pt idx="3837">
                  <c:v>1.41</c:v>
                </c:pt>
                <c:pt idx="3838" formatCode="0.00">
                  <c:v>1.41</c:v>
                </c:pt>
                <c:pt idx="3839" formatCode="0.00">
                  <c:v>1.41</c:v>
                </c:pt>
                <c:pt idx="3840" formatCode="0.00">
                  <c:v>1.41</c:v>
                </c:pt>
                <c:pt idx="3841" formatCode="0.00">
                  <c:v>1.41</c:v>
                </c:pt>
                <c:pt idx="3842" formatCode="0.00">
                  <c:v>1.41</c:v>
                </c:pt>
                <c:pt idx="3843" formatCode="0.00">
                  <c:v>1.4</c:v>
                </c:pt>
                <c:pt idx="3844" formatCode="0.00">
                  <c:v>1.4</c:v>
                </c:pt>
                <c:pt idx="3845" formatCode="0.00">
                  <c:v>1.4</c:v>
                </c:pt>
                <c:pt idx="3846" formatCode="0.00">
                  <c:v>1.4</c:v>
                </c:pt>
                <c:pt idx="3847" formatCode="0.00">
                  <c:v>1.4</c:v>
                </c:pt>
                <c:pt idx="3848" formatCode="0.00">
                  <c:v>1.4</c:v>
                </c:pt>
                <c:pt idx="3849" formatCode="0.00">
                  <c:v>1.36</c:v>
                </c:pt>
                <c:pt idx="3850" formatCode="0.00">
                  <c:v>1.36</c:v>
                </c:pt>
                <c:pt idx="3851" formatCode="0.00">
                  <c:v>1.35</c:v>
                </c:pt>
                <c:pt idx="3852" formatCode="0.00">
                  <c:v>1.36</c:v>
                </c:pt>
                <c:pt idx="3853" formatCode="0.00">
                  <c:v>1.36</c:v>
                </c:pt>
                <c:pt idx="3854" formatCode="0.00">
                  <c:v>1.36</c:v>
                </c:pt>
                <c:pt idx="3855" formatCode="0.00">
                  <c:v>1.36</c:v>
                </c:pt>
                <c:pt idx="3856" formatCode="0.00">
                  <c:v>1.36</c:v>
                </c:pt>
                <c:pt idx="3857" formatCode="0.00">
                  <c:v>1.36</c:v>
                </c:pt>
                <c:pt idx="3858" formatCode="0.00">
                  <c:v>1.36</c:v>
                </c:pt>
                <c:pt idx="3859" formatCode="0.00">
                  <c:v>1.36</c:v>
                </c:pt>
                <c:pt idx="3860" formatCode="0.00">
                  <c:v>1.36</c:v>
                </c:pt>
                <c:pt idx="3861" formatCode="0.00">
                  <c:v>1.36</c:v>
                </c:pt>
                <c:pt idx="3862" formatCode="0.00">
                  <c:v>1.36</c:v>
                </c:pt>
                <c:pt idx="3863" formatCode="0.00">
                  <c:v>1.36</c:v>
                </c:pt>
                <c:pt idx="3864" formatCode="0.00">
                  <c:v>1.36</c:v>
                </c:pt>
                <c:pt idx="3865" formatCode="0.00">
                  <c:v>1.36</c:v>
                </c:pt>
                <c:pt idx="3866" formatCode="0.00">
                  <c:v>1.36</c:v>
                </c:pt>
                <c:pt idx="3867" formatCode="0.00">
                  <c:v>1.36</c:v>
                </c:pt>
                <c:pt idx="3868" formatCode="0.00">
                  <c:v>1.36</c:v>
                </c:pt>
                <c:pt idx="3869" formatCode="0.00">
                  <c:v>1.36</c:v>
                </c:pt>
                <c:pt idx="3870" formatCode="0.00">
                  <c:v>1.36</c:v>
                </c:pt>
                <c:pt idx="3871" formatCode="0.00">
                  <c:v>1.36</c:v>
                </c:pt>
                <c:pt idx="3872" formatCode="0.00">
                  <c:v>1.36</c:v>
                </c:pt>
                <c:pt idx="3873" formatCode="0.00">
                  <c:v>1.36</c:v>
                </c:pt>
                <c:pt idx="3874" formatCode="0.00">
                  <c:v>1.36</c:v>
                </c:pt>
                <c:pt idx="3875" formatCode="0.00">
                  <c:v>1.36</c:v>
                </c:pt>
                <c:pt idx="3876" formatCode="0.00">
                  <c:v>1.36</c:v>
                </c:pt>
                <c:pt idx="3877">
                  <c:v>1.36</c:v>
                </c:pt>
                <c:pt idx="3878">
                  <c:v>1.36</c:v>
                </c:pt>
                <c:pt idx="3879">
                  <c:v>1.36</c:v>
                </c:pt>
                <c:pt idx="3880">
                  <c:v>1.36</c:v>
                </c:pt>
                <c:pt idx="3881">
                  <c:v>1.36</c:v>
                </c:pt>
                <c:pt idx="3882">
                  <c:v>1.36</c:v>
                </c:pt>
                <c:pt idx="3883">
                  <c:v>1.36</c:v>
                </c:pt>
                <c:pt idx="3884">
                  <c:v>1.36</c:v>
                </c:pt>
                <c:pt idx="3885">
                  <c:v>1.36</c:v>
                </c:pt>
                <c:pt idx="3886">
                  <c:v>1.36</c:v>
                </c:pt>
                <c:pt idx="3887">
                  <c:v>1.36</c:v>
                </c:pt>
                <c:pt idx="3888">
                  <c:v>1.36</c:v>
                </c:pt>
                <c:pt idx="3889">
                  <c:v>1.36</c:v>
                </c:pt>
                <c:pt idx="3890">
                  <c:v>1.36</c:v>
                </c:pt>
                <c:pt idx="3891">
                  <c:v>1.36</c:v>
                </c:pt>
                <c:pt idx="3892">
                  <c:v>1.36</c:v>
                </c:pt>
                <c:pt idx="3893">
                  <c:v>1.36</c:v>
                </c:pt>
                <c:pt idx="3894">
                  <c:v>1.36</c:v>
                </c:pt>
                <c:pt idx="3895">
                  <c:v>1.35</c:v>
                </c:pt>
                <c:pt idx="3896">
                  <c:v>1.35</c:v>
                </c:pt>
                <c:pt idx="3897">
                  <c:v>1.35</c:v>
                </c:pt>
                <c:pt idx="3898">
                  <c:v>1.35</c:v>
                </c:pt>
                <c:pt idx="3899">
                  <c:v>1.35</c:v>
                </c:pt>
                <c:pt idx="3900">
                  <c:v>1.35</c:v>
                </c:pt>
                <c:pt idx="3901">
                  <c:v>1.35</c:v>
                </c:pt>
                <c:pt idx="3902">
                  <c:v>1.35</c:v>
                </c:pt>
                <c:pt idx="3903">
                  <c:v>1.35</c:v>
                </c:pt>
                <c:pt idx="3904">
                  <c:v>1.35</c:v>
                </c:pt>
                <c:pt idx="3905">
                  <c:v>1.35</c:v>
                </c:pt>
                <c:pt idx="3906">
                  <c:v>1.35</c:v>
                </c:pt>
                <c:pt idx="3907">
                  <c:v>1.35</c:v>
                </c:pt>
                <c:pt idx="3908">
                  <c:v>1.35</c:v>
                </c:pt>
                <c:pt idx="3909">
                  <c:v>1.35</c:v>
                </c:pt>
                <c:pt idx="3910">
                  <c:v>1.35</c:v>
                </c:pt>
                <c:pt idx="3911">
                  <c:v>1.35</c:v>
                </c:pt>
                <c:pt idx="3912">
                  <c:v>1.35</c:v>
                </c:pt>
                <c:pt idx="3913">
                  <c:v>1.35</c:v>
                </c:pt>
                <c:pt idx="3914">
                  <c:v>1.35</c:v>
                </c:pt>
                <c:pt idx="3915">
                  <c:v>1.35</c:v>
                </c:pt>
                <c:pt idx="3916">
                  <c:v>1.35</c:v>
                </c:pt>
                <c:pt idx="3917">
                  <c:v>1.35</c:v>
                </c:pt>
                <c:pt idx="3918">
                  <c:v>1.35</c:v>
                </c:pt>
                <c:pt idx="3919">
                  <c:v>1.35</c:v>
                </c:pt>
                <c:pt idx="3920">
                  <c:v>1.35</c:v>
                </c:pt>
                <c:pt idx="3921">
                  <c:v>1.35</c:v>
                </c:pt>
                <c:pt idx="3922">
                  <c:v>1.35</c:v>
                </c:pt>
                <c:pt idx="3923">
                  <c:v>1.35</c:v>
                </c:pt>
                <c:pt idx="3924">
                  <c:v>1.35</c:v>
                </c:pt>
                <c:pt idx="3925">
                  <c:v>1.35</c:v>
                </c:pt>
                <c:pt idx="3926">
                  <c:v>1.35</c:v>
                </c:pt>
                <c:pt idx="3927">
                  <c:v>1.35</c:v>
                </c:pt>
                <c:pt idx="3928">
                  <c:v>1.35</c:v>
                </c:pt>
                <c:pt idx="3929">
                  <c:v>1.35</c:v>
                </c:pt>
                <c:pt idx="3930">
                  <c:v>1.35</c:v>
                </c:pt>
                <c:pt idx="3931">
                  <c:v>1.35</c:v>
                </c:pt>
                <c:pt idx="3932">
                  <c:v>1.35</c:v>
                </c:pt>
                <c:pt idx="3933">
                  <c:v>1.35</c:v>
                </c:pt>
                <c:pt idx="3934">
                  <c:v>1.35</c:v>
                </c:pt>
                <c:pt idx="3935">
                  <c:v>1.35</c:v>
                </c:pt>
                <c:pt idx="3936">
                  <c:v>1.35</c:v>
                </c:pt>
                <c:pt idx="3937">
                  <c:v>1.35</c:v>
                </c:pt>
                <c:pt idx="3938">
                  <c:v>1.35</c:v>
                </c:pt>
                <c:pt idx="3939">
                  <c:v>1.35</c:v>
                </c:pt>
                <c:pt idx="3940">
                  <c:v>1.35</c:v>
                </c:pt>
                <c:pt idx="3941">
                  <c:v>1.35</c:v>
                </c:pt>
                <c:pt idx="3942">
                  <c:v>1.35</c:v>
                </c:pt>
                <c:pt idx="3943">
                  <c:v>1.35</c:v>
                </c:pt>
                <c:pt idx="3944">
                  <c:v>1.35</c:v>
                </c:pt>
                <c:pt idx="3945">
                  <c:v>1.35</c:v>
                </c:pt>
                <c:pt idx="3946">
                  <c:v>1.35</c:v>
                </c:pt>
                <c:pt idx="3947">
                  <c:v>1.35</c:v>
                </c:pt>
                <c:pt idx="3948">
                  <c:v>1.35</c:v>
                </c:pt>
                <c:pt idx="3949">
                  <c:v>1.35</c:v>
                </c:pt>
                <c:pt idx="3950">
                  <c:v>1.35</c:v>
                </c:pt>
                <c:pt idx="3951">
                  <c:v>1.35</c:v>
                </c:pt>
                <c:pt idx="3952">
                  <c:v>1.35</c:v>
                </c:pt>
                <c:pt idx="3953">
                  <c:v>1.35</c:v>
                </c:pt>
                <c:pt idx="3954">
                  <c:v>1.35</c:v>
                </c:pt>
                <c:pt idx="3955">
                  <c:v>1.35</c:v>
                </c:pt>
                <c:pt idx="3956">
                  <c:v>1.35</c:v>
                </c:pt>
                <c:pt idx="3957">
                  <c:v>1.35</c:v>
                </c:pt>
                <c:pt idx="3958">
                  <c:v>1.35</c:v>
                </c:pt>
                <c:pt idx="3959">
                  <c:v>1.35</c:v>
                </c:pt>
                <c:pt idx="3960">
                  <c:v>1.35</c:v>
                </c:pt>
                <c:pt idx="3961">
                  <c:v>1.35</c:v>
                </c:pt>
                <c:pt idx="3962">
                  <c:v>1.35</c:v>
                </c:pt>
                <c:pt idx="3963" formatCode="0.00">
                  <c:v>1.35</c:v>
                </c:pt>
                <c:pt idx="3964" formatCode="0.00">
                  <c:v>1.35</c:v>
                </c:pt>
                <c:pt idx="3965" formatCode="0.00">
                  <c:v>1.35</c:v>
                </c:pt>
                <c:pt idx="3966" formatCode="0.00">
                  <c:v>1.35</c:v>
                </c:pt>
                <c:pt idx="3967" formatCode="0.00">
                  <c:v>1.35</c:v>
                </c:pt>
                <c:pt idx="3968" formatCode="0.00">
                  <c:v>1.35</c:v>
                </c:pt>
                <c:pt idx="3969" formatCode="0.00">
                  <c:v>1.35</c:v>
                </c:pt>
                <c:pt idx="3970" formatCode="0.00">
                  <c:v>1.35</c:v>
                </c:pt>
                <c:pt idx="3971" formatCode="0.00">
                  <c:v>1.35</c:v>
                </c:pt>
                <c:pt idx="3972" formatCode="0.00">
                  <c:v>1.35</c:v>
                </c:pt>
                <c:pt idx="3973" formatCode="0.00">
                  <c:v>1.35</c:v>
                </c:pt>
                <c:pt idx="3974" formatCode="0.00">
                  <c:v>1.35</c:v>
                </c:pt>
                <c:pt idx="3975" formatCode="0.00">
                  <c:v>1.35</c:v>
                </c:pt>
                <c:pt idx="3976" formatCode="0.00">
                  <c:v>1.35</c:v>
                </c:pt>
                <c:pt idx="3977" formatCode="0.00">
                  <c:v>1.35</c:v>
                </c:pt>
                <c:pt idx="3978" formatCode="0.00">
                  <c:v>1.35</c:v>
                </c:pt>
                <c:pt idx="3979" formatCode="0.00">
                  <c:v>1.35</c:v>
                </c:pt>
                <c:pt idx="3980" formatCode="0.00">
                  <c:v>1.35</c:v>
                </c:pt>
                <c:pt idx="3981" formatCode="0.00">
                  <c:v>1.35</c:v>
                </c:pt>
                <c:pt idx="3982" formatCode="0.00">
                  <c:v>1.35</c:v>
                </c:pt>
                <c:pt idx="3983" formatCode="0.00">
                  <c:v>1.35</c:v>
                </c:pt>
                <c:pt idx="3984" formatCode="0.00">
                  <c:v>1.35</c:v>
                </c:pt>
                <c:pt idx="3985" formatCode="0.00">
                  <c:v>1.35</c:v>
                </c:pt>
                <c:pt idx="3986" formatCode="0.00">
                  <c:v>1.35</c:v>
                </c:pt>
                <c:pt idx="3987" formatCode="0.00">
                  <c:v>1.35</c:v>
                </c:pt>
                <c:pt idx="3988" formatCode="0.00">
                  <c:v>1.35</c:v>
                </c:pt>
                <c:pt idx="3989" formatCode="0.00">
                  <c:v>1.35</c:v>
                </c:pt>
                <c:pt idx="3990" formatCode="0.00">
                  <c:v>1.35</c:v>
                </c:pt>
                <c:pt idx="3991" formatCode="0.00">
                  <c:v>1.35</c:v>
                </c:pt>
                <c:pt idx="3992" formatCode="0.00">
                  <c:v>1.35</c:v>
                </c:pt>
                <c:pt idx="3993" formatCode="0.00">
                  <c:v>1.35</c:v>
                </c:pt>
                <c:pt idx="3994" formatCode="0.00">
                  <c:v>1.35</c:v>
                </c:pt>
                <c:pt idx="3995" formatCode="0.00">
                  <c:v>1.35</c:v>
                </c:pt>
                <c:pt idx="3996" formatCode="0.00">
                  <c:v>1.35</c:v>
                </c:pt>
                <c:pt idx="3997" formatCode="0.00">
                  <c:v>1.35</c:v>
                </c:pt>
                <c:pt idx="3998" formatCode="0.00">
                  <c:v>1.35</c:v>
                </c:pt>
                <c:pt idx="3999" formatCode="0.00">
                  <c:v>1.35</c:v>
                </c:pt>
                <c:pt idx="4000" formatCode="0.00">
                  <c:v>1.35</c:v>
                </c:pt>
                <c:pt idx="4001" formatCode="0.00">
                  <c:v>1.35</c:v>
                </c:pt>
                <c:pt idx="4002" formatCode="0.00">
                  <c:v>1.35</c:v>
                </c:pt>
                <c:pt idx="4003" formatCode="0.00">
                  <c:v>1.34</c:v>
                </c:pt>
                <c:pt idx="4004" formatCode="0.00">
                  <c:v>1.34</c:v>
                </c:pt>
                <c:pt idx="4005" formatCode="0.00">
                  <c:v>1.34</c:v>
                </c:pt>
                <c:pt idx="4006" formatCode="0.00">
                  <c:v>1.34</c:v>
                </c:pt>
                <c:pt idx="4007" formatCode="0.00">
                  <c:v>1.34</c:v>
                </c:pt>
                <c:pt idx="4008" formatCode="0.00">
                  <c:v>1.34</c:v>
                </c:pt>
                <c:pt idx="4009" formatCode="0.00">
                  <c:v>1.34</c:v>
                </c:pt>
                <c:pt idx="4010" formatCode="0.00">
                  <c:v>1.34</c:v>
                </c:pt>
                <c:pt idx="4011" formatCode="0.00">
                  <c:v>1.34</c:v>
                </c:pt>
                <c:pt idx="4012" formatCode="0.00">
                  <c:v>1.34</c:v>
                </c:pt>
                <c:pt idx="4013" formatCode="0.00">
                  <c:v>1.34</c:v>
                </c:pt>
                <c:pt idx="4014" formatCode="0.00">
                  <c:v>1.34</c:v>
                </c:pt>
                <c:pt idx="4015" formatCode="0.00">
                  <c:v>1.34</c:v>
                </c:pt>
                <c:pt idx="4016" formatCode="0.00">
                  <c:v>1.34</c:v>
                </c:pt>
                <c:pt idx="4017" formatCode="0.00">
                  <c:v>1.34</c:v>
                </c:pt>
                <c:pt idx="4018" formatCode="0.00">
                  <c:v>1.33</c:v>
                </c:pt>
                <c:pt idx="4019" formatCode="0.00">
                  <c:v>1.2</c:v>
                </c:pt>
                <c:pt idx="4020" formatCode="0.00">
                  <c:v>1.2</c:v>
                </c:pt>
                <c:pt idx="4021" formatCode="0.00">
                  <c:v>1.2</c:v>
                </c:pt>
                <c:pt idx="4022" formatCode="0.00">
                  <c:v>1.2</c:v>
                </c:pt>
                <c:pt idx="4023" formatCode="0.00">
                  <c:v>1.2</c:v>
                </c:pt>
                <c:pt idx="4024" formatCode="0.00">
                  <c:v>1.2</c:v>
                </c:pt>
                <c:pt idx="4025" formatCode="0.00">
                  <c:v>1.2</c:v>
                </c:pt>
                <c:pt idx="4026" formatCode="0.00">
                  <c:v>1.2</c:v>
                </c:pt>
                <c:pt idx="4027" formatCode="0.00">
                  <c:v>1.2</c:v>
                </c:pt>
                <c:pt idx="4028" formatCode="0.00">
                  <c:v>1.2</c:v>
                </c:pt>
                <c:pt idx="4029" formatCode="0.00">
                  <c:v>1.2</c:v>
                </c:pt>
                <c:pt idx="4030" formatCode="0.00">
                  <c:v>1.2</c:v>
                </c:pt>
                <c:pt idx="4031" formatCode="0.00">
                  <c:v>1.2</c:v>
                </c:pt>
                <c:pt idx="4032" formatCode="0.00">
                  <c:v>1.2</c:v>
                </c:pt>
                <c:pt idx="4033" formatCode="0.00">
                  <c:v>1.2</c:v>
                </c:pt>
                <c:pt idx="4034" formatCode="0.00">
                  <c:v>1.2</c:v>
                </c:pt>
                <c:pt idx="4035" formatCode="0.00">
                  <c:v>1.2</c:v>
                </c:pt>
                <c:pt idx="4036" formatCode="0.00">
                  <c:v>1.2</c:v>
                </c:pt>
                <c:pt idx="4037" formatCode="0.00">
                  <c:v>1.2</c:v>
                </c:pt>
                <c:pt idx="4038" formatCode="0.00">
                  <c:v>1.2</c:v>
                </c:pt>
                <c:pt idx="4039" formatCode="0.00">
                  <c:v>1.19</c:v>
                </c:pt>
                <c:pt idx="4040" formatCode="0.00">
                  <c:v>1.19</c:v>
                </c:pt>
                <c:pt idx="4041" formatCode="0.00">
                  <c:v>1.1399999999999999</c:v>
                </c:pt>
                <c:pt idx="4042" formatCode="0.00">
                  <c:v>1.1399999999999999</c:v>
                </c:pt>
                <c:pt idx="4043" formatCode="0.00">
                  <c:v>1.05</c:v>
                </c:pt>
                <c:pt idx="4044" formatCode="0.00">
                  <c:v>1.05</c:v>
                </c:pt>
                <c:pt idx="4045" formatCode="0.00">
                  <c:v>1.05</c:v>
                </c:pt>
                <c:pt idx="4046" formatCode="0.00">
                  <c:v>1.08</c:v>
                </c:pt>
                <c:pt idx="4047" formatCode="0.00">
                  <c:v>1.1000000000000001</c:v>
                </c:pt>
                <c:pt idx="4048" formatCode="0.00">
                  <c:v>1.1000000000000001</c:v>
                </c:pt>
                <c:pt idx="4049" formatCode="0.00">
                  <c:v>1.1000000000000001</c:v>
                </c:pt>
                <c:pt idx="4050" formatCode="0.00">
                  <c:v>1.1000000000000001</c:v>
                </c:pt>
                <c:pt idx="4051" formatCode="0.00">
                  <c:v>1.1000000000000001</c:v>
                </c:pt>
                <c:pt idx="4052" formatCode="0.00">
                  <c:v>1.1000000000000001</c:v>
                </c:pt>
                <c:pt idx="4053" formatCode="0.00">
                  <c:v>1.1000000000000001</c:v>
                </c:pt>
                <c:pt idx="4054" formatCode="0.00">
                  <c:v>1.1000000000000001</c:v>
                </c:pt>
                <c:pt idx="4055" formatCode="0.00">
                  <c:v>1.1000000000000001</c:v>
                </c:pt>
                <c:pt idx="4056" formatCode="0.00">
                  <c:v>1.1000000000000001</c:v>
                </c:pt>
                <c:pt idx="4057" formatCode="0.00">
                  <c:v>1.1000000000000001</c:v>
                </c:pt>
                <c:pt idx="4058" formatCode="0.00">
                  <c:v>1.1000000000000001</c:v>
                </c:pt>
                <c:pt idx="4059" formatCode="0.00">
                  <c:v>1.1000000000000001</c:v>
                </c:pt>
                <c:pt idx="4060" formatCode="0.00">
                  <c:v>1.1000000000000001</c:v>
                </c:pt>
                <c:pt idx="4061" formatCode="0.00">
                  <c:v>1.1000000000000001</c:v>
                </c:pt>
                <c:pt idx="4062" formatCode="0.00">
                  <c:v>1.1000000000000001</c:v>
                </c:pt>
                <c:pt idx="4063" formatCode="0.00">
                  <c:v>1.1000000000000001</c:v>
                </c:pt>
                <c:pt idx="4064">
                  <c:v>0.9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704960"/>
        <c:axId val="223706496"/>
      </c:lineChart>
      <c:dateAx>
        <c:axId val="223704960"/>
        <c:scaling>
          <c:orientation val="minMax"/>
        </c:scaling>
        <c:delete val="0"/>
        <c:axPos val="b"/>
        <c:numFmt formatCode="yyyy/mm/dd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050"/>
            </a:pPr>
            <a:endParaRPr lang="hu-HU"/>
          </a:p>
        </c:txPr>
        <c:crossAx val="223706496"/>
        <c:crosses val="autoZero"/>
        <c:auto val="1"/>
        <c:lblOffset val="100"/>
        <c:baseTimeUnit val="days"/>
        <c:majorUnit val="4"/>
        <c:majorTimeUnit val="months"/>
      </c:dateAx>
      <c:valAx>
        <c:axId val="22370649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hu-HU" dirty="0" smtClean="0"/>
                  <a:t>%</a:t>
                </a:r>
                <a:endParaRPr lang="hu-HU" dirty="0"/>
              </a:p>
            </c:rich>
          </c:tx>
          <c:layout>
            <c:manualLayout>
              <c:xMode val="edge"/>
              <c:yMode val="edge"/>
              <c:x val="2.6060120959930069E-2"/>
              <c:y val="2.6870783696326301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hu-HU"/>
          </a:p>
        </c:txPr>
        <c:crossAx val="223704960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Sorozat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numRef>
              <c:f>Munka1!$A$2:$A$8</c:f>
              <c:numCache>
                <c:formatCode>0%</c:formatCode>
                <c:ptCount val="7"/>
                <c:pt idx="0">
                  <c:v>0.05</c:v>
                </c:pt>
                <c:pt idx="1">
                  <c:v>0.06</c:v>
                </c:pt>
                <c:pt idx="2">
                  <c:v>7.0000000000000007E-2</c:v>
                </c:pt>
                <c:pt idx="3">
                  <c:v>0.08</c:v>
                </c:pt>
                <c:pt idx="4">
                  <c:v>0.09</c:v>
                </c:pt>
                <c:pt idx="5">
                  <c:v>0.1</c:v>
                </c:pt>
                <c:pt idx="6">
                  <c:v>0.11</c:v>
                </c:pt>
              </c:numCache>
            </c:numRef>
          </c:cat>
          <c:val>
            <c:numRef>
              <c:f>Munka1!$B$2:$B$8</c:f>
              <c:numCache>
                <c:formatCode>_-* #,##0\ _F_t_-;\-* #,##0\ _F_t_-;_-* "-"??\ _F_t_-;_-@_-</c:formatCode>
                <c:ptCount val="7"/>
                <c:pt idx="0">
                  <c:v>51600</c:v>
                </c:pt>
                <c:pt idx="1">
                  <c:v>55500</c:v>
                </c:pt>
                <c:pt idx="2">
                  <c:v>59400</c:v>
                </c:pt>
                <c:pt idx="3">
                  <c:v>63500</c:v>
                </c:pt>
                <c:pt idx="4">
                  <c:v>67700</c:v>
                </c:pt>
                <c:pt idx="5">
                  <c:v>72100</c:v>
                </c:pt>
                <c:pt idx="6">
                  <c:v>76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axId val="130043264"/>
        <c:axId val="130218240"/>
      </c:barChart>
      <c:catAx>
        <c:axId val="1300432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crossAx val="130218240"/>
        <c:crosses val="autoZero"/>
        <c:auto val="1"/>
        <c:lblAlgn val="ctr"/>
        <c:lblOffset val="100"/>
        <c:noMultiLvlLbl val="0"/>
      </c:catAx>
      <c:valAx>
        <c:axId val="130218240"/>
        <c:scaling>
          <c:orientation val="minMax"/>
          <c:min val="4000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_-* #,##0\ _F_t_-;\-* #,##0\ _F_t_-;_-* &quot;-&quot;??\ _F_t_-;_-@_-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1300432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047805791181054"/>
          <c:y val="0.20611954797045343"/>
          <c:w val="0.8495219393417055"/>
          <c:h val="0.616052276242810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Sorozat 1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Pt>
            <c:idx val="14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5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Lbls>
            <c:numFmt formatCode="#,##0" sourceLinked="0"/>
            <c:txPr>
              <a:bodyPr/>
              <a:lstStyle/>
              <a:p>
                <a:pPr>
                  <a:defRPr sz="14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Munka1!$A$2:$A$17</c:f>
              <c:numCache>
                <c:formatCode>General</c:formatCode>
                <c:ptCount val="16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</c:numCache>
            </c:numRef>
          </c:cat>
          <c:val>
            <c:numRef>
              <c:f>Munka1!$B$2:$B$17</c:f>
              <c:numCache>
                <c:formatCode>General</c:formatCode>
                <c:ptCount val="16"/>
                <c:pt idx="0">
                  <c:v>72.334399999999988</c:v>
                </c:pt>
                <c:pt idx="1">
                  <c:v>137.17529999999999</c:v>
                </c:pt>
                <c:pt idx="2">
                  <c:v>203.9931</c:v>
                </c:pt>
                <c:pt idx="3">
                  <c:v>232.56560000000002</c:v>
                </c:pt>
                <c:pt idx="4">
                  <c:v>223.53879999999998</c:v>
                </c:pt>
                <c:pt idx="5">
                  <c:v>228.47070000000002</c:v>
                </c:pt>
                <c:pt idx="6">
                  <c:v>185.57487499999999</c:v>
                </c:pt>
                <c:pt idx="7">
                  <c:v>199.2893</c:v>
                </c:pt>
                <c:pt idx="8">
                  <c:v>147.40279999999998</c:v>
                </c:pt>
                <c:pt idx="9">
                  <c:v>129.07933599999998</c:v>
                </c:pt>
                <c:pt idx="10">
                  <c:v>124.00069999999999</c:v>
                </c:pt>
                <c:pt idx="11">
                  <c:v>131.86199999999999</c:v>
                </c:pt>
                <c:pt idx="12">
                  <c:v>127.95989999999999</c:v>
                </c:pt>
                <c:pt idx="13">
                  <c:v>109.30247800000001</c:v>
                </c:pt>
                <c:pt idx="14">
                  <c:v>104</c:v>
                </c:pt>
                <c:pt idx="15">
                  <c:v>211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243028736"/>
        <c:axId val="243030656"/>
      </c:barChart>
      <c:catAx>
        <c:axId val="243028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hu-HU"/>
          </a:p>
        </c:txPr>
        <c:crossAx val="243030656"/>
        <c:crosses val="autoZero"/>
        <c:auto val="1"/>
        <c:lblAlgn val="ctr"/>
        <c:lblOffset val="100"/>
        <c:tickLblSkip val="1"/>
        <c:noMultiLvlLbl val="0"/>
      </c:catAx>
      <c:valAx>
        <c:axId val="243030656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1200"/>
                </a:pPr>
                <a:r>
                  <a:rPr lang="hu-HU" sz="1200" dirty="0" smtClean="0"/>
                  <a:t>Mrd Ft</a:t>
                </a:r>
                <a:endParaRPr lang="hu-HU" sz="1200" dirty="0"/>
              </a:p>
            </c:rich>
          </c:tx>
          <c:layout>
            <c:manualLayout>
              <c:xMode val="edge"/>
              <c:yMode val="edge"/>
              <c:x val="9.9753641758150921E-2"/>
              <c:y val="7.2547138637017533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hu-HU"/>
          </a:p>
        </c:txPr>
        <c:crossAx val="243028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184617405534127E-2"/>
          <c:y val="0.10095835357505631"/>
          <c:w val="0.92510970395113912"/>
          <c:h val="0.73732322205850065"/>
        </c:manualLayout>
      </c:layout>
      <c:areaChart>
        <c:grouping val="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Támogatott HUF lakáshitel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B$2:$B$196</c:f>
              <c:numCache>
                <c:formatCode>General</c:formatCode>
                <c:ptCount val="1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.2797345970219414</c:v>
                </c:pt>
                <c:pt idx="13">
                  <c:v>1.7940592437060843</c:v>
                </c:pt>
                <c:pt idx="14">
                  <c:v>2.0130801462816152</c:v>
                </c:pt>
                <c:pt idx="15">
                  <c:v>2.4950506549278977</c:v>
                </c:pt>
                <c:pt idx="16">
                  <c:v>6.5660562636843149</c:v>
                </c:pt>
                <c:pt idx="17">
                  <c:v>10.338758711673288</c:v>
                </c:pt>
                <c:pt idx="18">
                  <c:v>10.094897344006657</c:v>
                </c:pt>
                <c:pt idx="19">
                  <c:v>9.5752235298984338</c:v>
                </c:pt>
                <c:pt idx="20">
                  <c:v>9.2905631451802986</c:v>
                </c:pt>
                <c:pt idx="21">
                  <c:v>11.099531752185564</c:v>
                </c:pt>
                <c:pt idx="22">
                  <c:v>7.8610962688643555</c:v>
                </c:pt>
                <c:pt idx="23">
                  <c:v>9.1642138368969324</c:v>
                </c:pt>
                <c:pt idx="24">
                  <c:v>9.2959008131999923</c:v>
                </c:pt>
                <c:pt idx="25">
                  <c:v>10.147308844150661</c:v>
                </c:pt>
                <c:pt idx="26">
                  <c:v>13.262084456458474</c:v>
                </c:pt>
                <c:pt idx="27">
                  <c:v>18.984539562852365</c:v>
                </c:pt>
                <c:pt idx="28">
                  <c:v>28.107165672500223</c:v>
                </c:pt>
                <c:pt idx="29">
                  <c:v>35.174795821108972</c:v>
                </c:pt>
                <c:pt idx="30">
                  <c:v>43.436952638241912</c:v>
                </c:pt>
                <c:pt idx="31">
                  <c:v>39.641589504970646</c:v>
                </c:pt>
                <c:pt idx="32">
                  <c:v>42.428536488599995</c:v>
                </c:pt>
                <c:pt idx="33">
                  <c:v>45.267522428239687</c:v>
                </c:pt>
                <c:pt idx="34">
                  <c:v>41.915456312549033</c:v>
                </c:pt>
                <c:pt idx="35">
                  <c:v>43.625825168878208</c:v>
                </c:pt>
                <c:pt idx="36">
                  <c:v>40.089462582185185</c:v>
                </c:pt>
                <c:pt idx="37">
                  <c:v>42.717859835001455</c:v>
                </c:pt>
                <c:pt idx="38">
                  <c:v>47.189892457808092</c:v>
                </c:pt>
                <c:pt idx="39">
                  <c:v>57.211617655680698</c:v>
                </c:pt>
                <c:pt idx="40">
                  <c:v>64.060138112986223</c:v>
                </c:pt>
                <c:pt idx="41">
                  <c:v>70.739580384438213</c:v>
                </c:pt>
                <c:pt idx="42">
                  <c:v>76.585586749863879</c:v>
                </c:pt>
                <c:pt idx="43">
                  <c:v>64.985798484023618</c:v>
                </c:pt>
                <c:pt idx="44">
                  <c:v>71.464567151053217</c:v>
                </c:pt>
                <c:pt idx="45">
                  <c:v>62.105491812890008</c:v>
                </c:pt>
                <c:pt idx="46">
                  <c:v>54.108435194103613</c:v>
                </c:pt>
                <c:pt idx="47">
                  <c:v>53.011134846517862</c:v>
                </c:pt>
                <c:pt idx="48">
                  <c:v>37.020168883998963</c:v>
                </c:pt>
                <c:pt idx="49">
                  <c:v>40.681436032040104</c:v>
                </c:pt>
                <c:pt idx="50">
                  <c:v>31.476651824149471</c:v>
                </c:pt>
                <c:pt idx="51">
                  <c:v>18.321083265287999</c:v>
                </c:pt>
                <c:pt idx="52">
                  <c:v>14.641187664511412</c:v>
                </c:pt>
                <c:pt idx="53">
                  <c:v>16.14621140842743</c:v>
                </c:pt>
                <c:pt idx="54">
                  <c:v>13.244053709354722</c:v>
                </c:pt>
                <c:pt idx="55">
                  <c:v>11.780167798562783</c:v>
                </c:pt>
                <c:pt idx="56">
                  <c:v>15.655662153061307</c:v>
                </c:pt>
                <c:pt idx="57">
                  <c:v>17.114260688018536</c:v>
                </c:pt>
                <c:pt idx="58">
                  <c:v>14.456471031929102</c:v>
                </c:pt>
                <c:pt idx="59">
                  <c:v>11.816941140448039</c:v>
                </c:pt>
                <c:pt idx="60">
                  <c:v>11.260129117486537</c:v>
                </c:pt>
                <c:pt idx="61">
                  <c:v>11.384834518384892</c:v>
                </c:pt>
                <c:pt idx="62">
                  <c:v>13.06731655343507</c:v>
                </c:pt>
                <c:pt idx="63">
                  <c:v>14.581681119141157</c:v>
                </c:pt>
                <c:pt idx="64">
                  <c:v>14.691361251250703</c:v>
                </c:pt>
                <c:pt idx="65">
                  <c:v>18.000575112379746</c:v>
                </c:pt>
                <c:pt idx="66">
                  <c:v>15.242765466693228</c:v>
                </c:pt>
                <c:pt idx="67">
                  <c:v>16.279707196115542</c:v>
                </c:pt>
                <c:pt idx="68">
                  <c:v>14.056590276217261</c:v>
                </c:pt>
                <c:pt idx="69">
                  <c:v>13.503925350458481</c:v>
                </c:pt>
                <c:pt idx="70">
                  <c:v>13.67196454584635</c:v>
                </c:pt>
                <c:pt idx="71">
                  <c:v>12.878793729864123</c:v>
                </c:pt>
                <c:pt idx="72">
                  <c:v>9.33154185473742</c:v>
                </c:pt>
                <c:pt idx="73">
                  <c:v>9.1380092512138837</c:v>
                </c:pt>
                <c:pt idx="74">
                  <c:v>10.331215154737903</c:v>
                </c:pt>
                <c:pt idx="75">
                  <c:v>10.343293966256498</c:v>
                </c:pt>
                <c:pt idx="76">
                  <c:v>11.912774937994159</c:v>
                </c:pt>
                <c:pt idx="77">
                  <c:v>14.844211114950218</c:v>
                </c:pt>
                <c:pt idx="78">
                  <c:v>11.853574963643455</c:v>
                </c:pt>
                <c:pt idx="79">
                  <c:v>15.318713414532033</c:v>
                </c:pt>
                <c:pt idx="80">
                  <c:v>13.851264946704337</c:v>
                </c:pt>
                <c:pt idx="81">
                  <c:v>12.566011366149674</c:v>
                </c:pt>
                <c:pt idx="82">
                  <c:v>16.51676594226263</c:v>
                </c:pt>
                <c:pt idx="83">
                  <c:v>14.783661722400538</c:v>
                </c:pt>
                <c:pt idx="84">
                  <c:v>8.3453981376339943</c:v>
                </c:pt>
                <c:pt idx="85">
                  <c:v>6.8567314272588051</c:v>
                </c:pt>
                <c:pt idx="86">
                  <c:v>7.2143234781776417</c:v>
                </c:pt>
                <c:pt idx="87">
                  <c:v>7.5415362117151572</c:v>
                </c:pt>
                <c:pt idx="88">
                  <c:v>8.5239016251914155</c:v>
                </c:pt>
                <c:pt idx="89">
                  <c:v>7.95038933212098</c:v>
                </c:pt>
                <c:pt idx="90">
                  <c:v>9.6156456380168525</c:v>
                </c:pt>
                <c:pt idx="91">
                  <c:v>8.9548289615237309</c:v>
                </c:pt>
                <c:pt idx="92">
                  <c:v>7.5127997343032185</c:v>
                </c:pt>
                <c:pt idx="93">
                  <c:v>8.1185259044793217</c:v>
                </c:pt>
                <c:pt idx="94">
                  <c:v>7.6779704351071958</c:v>
                </c:pt>
                <c:pt idx="95">
                  <c:v>7.7493315028713639</c:v>
                </c:pt>
                <c:pt idx="96">
                  <c:v>6.6775206388951833</c:v>
                </c:pt>
                <c:pt idx="97">
                  <c:v>4.947901483450468</c:v>
                </c:pt>
                <c:pt idx="98">
                  <c:v>5.3971069905539153</c:v>
                </c:pt>
                <c:pt idx="99">
                  <c:v>7.5561656934179702</c:v>
                </c:pt>
                <c:pt idx="100">
                  <c:v>6.1482605626464109</c:v>
                </c:pt>
                <c:pt idx="101">
                  <c:v>7.0261596736189809</c:v>
                </c:pt>
                <c:pt idx="102">
                  <c:v>7.8753422745031401</c:v>
                </c:pt>
                <c:pt idx="103">
                  <c:v>5.8974127196402906</c:v>
                </c:pt>
                <c:pt idx="104">
                  <c:v>6.7915550216882012</c:v>
                </c:pt>
                <c:pt idx="105">
                  <c:v>7.5792544223532099</c:v>
                </c:pt>
                <c:pt idx="106">
                  <c:v>9.1767705271669353</c:v>
                </c:pt>
                <c:pt idx="107">
                  <c:v>8.0033156086677231</c:v>
                </c:pt>
                <c:pt idx="108">
                  <c:v>5.6769414122763422</c:v>
                </c:pt>
                <c:pt idx="109">
                  <c:v>5.6290404570079478</c:v>
                </c:pt>
                <c:pt idx="110">
                  <c:v>6.6472338389661987</c:v>
                </c:pt>
                <c:pt idx="111">
                  <c:v>7.0991193891650095</c:v>
                </c:pt>
                <c:pt idx="112">
                  <c:v>7.7563235666003978</c:v>
                </c:pt>
                <c:pt idx="113">
                  <c:v>13.366641280815109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8.8351240000000025E-2</c:v>
                </c:pt>
                <c:pt idx="119">
                  <c:v>9.9705163706000119E-2</c:v>
                </c:pt>
                <c:pt idx="120">
                  <c:v>0.26748999377886479</c:v>
                </c:pt>
                <c:pt idx="121">
                  <c:v>0.37382202276569343</c:v>
                </c:pt>
                <c:pt idx="122">
                  <c:v>0.54078863651041653</c:v>
                </c:pt>
                <c:pt idx="123">
                  <c:v>0.8271093790919849</c:v>
                </c:pt>
                <c:pt idx="124">
                  <c:v>0.89248998645960553</c:v>
                </c:pt>
                <c:pt idx="125">
                  <c:v>1.2631626563243066</c:v>
                </c:pt>
                <c:pt idx="126">
                  <c:v>1.1381211464226246</c:v>
                </c:pt>
                <c:pt idx="127">
                  <c:v>1.2102514138756677</c:v>
                </c:pt>
                <c:pt idx="128">
                  <c:v>1.1954106733634313</c:v>
                </c:pt>
                <c:pt idx="129">
                  <c:v>1.0562114767505606</c:v>
                </c:pt>
                <c:pt idx="130">
                  <c:v>1.1140279216921587</c:v>
                </c:pt>
                <c:pt idx="131">
                  <c:v>1.1070071457166397</c:v>
                </c:pt>
                <c:pt idx="132">
                  <c:v>0.30419524618323945</c:v>
                </c:pt>
                <c:pt idx="133">
                  <c:v>0.32844079930604397</c:v>
                </c:pt>
                <c:pt idx="134">
                  <c:v>0.42586302016865796</c:v>
                </c:pt>
                <c:pt idx="135">
                  <c:v>0.40379465480059729</c:v>
                </c:pt>
                <c:pt idx="136">
                  <c:v>0.4876409769413213</c:v>
                </c:pt>
                <c:pt idx="137">
                  <c:v>0.53114718601106781</c:v>
                </c:pt>
                <c:pt idx="138">
                  <c:v>0.48373932139406206</c:v>
                </c:pt>
                <c:pt idx="139">
                  <c:v>0.51867055890284608</c:v>
                </c:pt>
                <c:pt idx="140">
                  <c:v>0.46407513265108929</c:v>
                </c:pt>
                <c:pt idx="141">
                  <c:v>0.42744043492621231</c:v>
                </c:pt>
                <c:pt idx="142">
                  <c:v>0.60474411232431546</c:v>
                </c:pt>
                <c:pt idx="143">
                  <c:v>1.0857136182185518</c:v>
                </c:pt>
                <c:pt idx="144">
                  <c:v>2.6946992086700154</c:v>
                </c:pt>
                <c:pt idx="145">
                  <c:v>1.6320996560607306</c:v>
                </c:pt>
                <c:pt idx="146">
                  <c:v>0.52126021042260751</c:v>
                </c:pt>
                <c:pt idx="147">
                  <c:v>0.43811663779405607</c:v>
                </c:pt>
                <c:pt idx="148">
                  <c:v>0.52286819954393826</c:v>
                </c:pt>
                <c:pt idx="149">
                  <c:v>0.49001484099810716</c:v>
                </c:pt>
                <c:pt idx="150">
                  <c:v>0.51591032394904857</c:v>
                </c:pt>
                <c:pt idx="151">
                  <c:v>0.47170530023093571</c:v>
                </c:pt>
                <c:pt idx="152">
                  <c:v>0.43995050974335653</c:v>
                </c:pt>
                <c:pt idx="153">
                  <c:v>0.41723436708609496</c:v>
                </c:pt>
                <c:pt idx="154">
                  <c:v>0.4253920367851039</c:v>
                </c:pt>
                <c:pt idx="155">
                  <c:v>0.37859927692434342</c:v>
                </c:pt>
                <c:pt idx="156">
                  <c:v>2.1187545961058887</c:v>
                </c:pt>
                <c:pt idx="157">
                  <c:v>1.9824284541530792</c:v>
                </c:pt>
                <c:pt idx="158">
                  <c:v>2.3769518082869752</c:v>
                </c:pt>
                <c:pt idx="159">
                  <c:v>2.6862859044504126</c:v>
                </c:pt>
                <c:pt idx="160">
                  <c:v>3.5480877167274154</c:v>
                </c:pt>
                <c:pt idx="161">
                  <c:v>3.5837599733358907</c:v>
                </c:pt>
                <c:pt idx="162">
                  <c:v>3.9792967541147126</c:v>
                </c:pt>
                <c:pt idx="163">
                  <c:v>3.6179733807404579</c:v>
                </c:pt>
                <c:pt idx="164">
                  <c:v>3.9137213146556684</c:v>
                </c:pt>
                <c:pt idx="165">
                  <c:v>3.8438439087665448</c:v>
                </c:pt>
                <c:pt idx="166">
                  <c:v>3.5720791151160545</c:v>
                </c:pt>
                <c:pt idx="167">
                  <c:v>3.8287016062919634</c:v>
                </c:pt>
                <c:pt idx="168">
                  <c:v>2.9108155234160886</c:v>
                </c:pt>
                <c:pt idx="169">
                  <c:v>2.8094471974968283</c:v>
                </c:pt>
                <c:pt idx="170">
                  <c:v>3.5214385433023851</c:v>
                </c:pt>
                <c:pt idx="171">
                  <c:v>4.5355774770338275</c:v>
                </c:pt>
                <c:pt idx="172">
                  <c:v>5.1458698240091634</c:v>
                </c:pt>
                <c:pt idx="173">
                  <c:v>8.658524822692133</c:v>
                </c:pt>
                <c:pt idx="174">
                  <c:v>6.3809927402347739</c:v>
                </c:pt>
                <c:pt idx="175">
                  <c:v>5.6448036471348493</c:v>
                </c:pt>
                <c:pt idx="176">
                  <c:v>6.0759715683749818</c:v>
                </c:pt>
                <c:pt idx="177">
                  <c:v>5.3591090351016426</c:v>
                </c:pt>
                <c:pt idx="178">
                  <c:v>5.2817882607223199</c:v>
                </c:pt>
                <c:pt idx="179">
                  <c:v>5.7099990213587484</c:v>
                </c:pt>
                <c:pt idx="180">
                  <c:v>3.2707238720141132</c:v>
                </c:pt>
                <c:pt idx="181">
                  <c:v>1.7651303909078218</c:v>
                </c:pt>
                <c:pt idx="182">
                  <c:v>3.2455284217341664</c:v>
                </c:pt>
                <c:pt idx="183">
                  <c:v>3.5109708149987866</c:v>
                </c:pt>
                <c:pt idx="184">
                  <c:v>3.3393503090862637</c:v>
                </c:pt>
                <c:pt idx="185">
                  <c:v>4.4332961912588544</c:v>
                </c:pt>
                <c:pt idx="186">
                  <c:v>3.9741634374636896</c:v>
                </c:pt>
                <c:pt idx="187">
                  <c:v>3.9478299065503952</c:v>
                </c:pt>
                <c:pt idx="188">
                  <c:v>4.7002613856408697</c:v>
                </c:pt>
                <c:pt idx="189">
                  <c:v>4.2537034319797176</c:v>
                </c:pt>
                <c:pt idx="190">
                  <c:v>4.1248735884388399</c:v>
                </c:pt>
                <c:pt idx="191">
                  <c:v>4.3551682499264883</c:v>
                </c:pt>
                <c:pt idx="192">
                  <c:v>3.2397885849304919</c:v>
                </c:pt>
                <c:pt idx="193">
                  <c:v>3.6627206145124749</c:v>
                </c:pt>
                <c:pt idx="194">
                  <c:v>4.216876430000000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Piaci HUF lakáshitel</c:v>
                </c:pt>
              </c:strCache>
            </c:strRef>
          </c:tx>
          <c:spPr>
            <a:solidFill>
              <a:srgbClr val="9ED561"/>
            </a:solidFill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C$2:$C$196</c:f>
              <c:numCache>
                <c:formatCode>General</c:formatCode>
                <c:ptCount val="195"/>
                <c:pt idx="0">
                  <c:v>0.55371800000000004</c:v>
                </c:pt>
                <c:pt idx="1">
                  <c:v>0.75864800000000054</c:v>
                </c:pt>
                <c:pt idx="2">
                  <c:v>2.3655149999999998</c:v>
                </c:pt>
                <c:pt idx="3">
                  <c:v>3.5085410000000001</c:v>
                </c:pt>
                <c:pt idx="4">
                  <c:v>4.3497620000000028</c:v>
                </c:pt>
                <c:pt idx="5">
                  <c:v>4.5699109999999967</c:v>
                </c:pt>
                <c:pt idx="6">
                  <c:v>4.9854026200000003</c:v>
                </c:pt>
                <c:pt idx="7">
                  <c:v>5.9676638500000001</c:v>
                </c:pt>
                <c:pt idx="8">
                  <c:v>7.8933819399999967</c:v>
                </c:pt>
                <c:pt idx="9">
                  <c:v>5.199001</c:v>
                </c:pt>
                <c:pt idx="10">
                  <c:v>4.7212470000000026</c:v>
                </c:pt>
                <c:pt idx="11">
                  <c:v>5.4163290000000028</c:v>
                </c:pt>
                <c:pt idx="12">
                  <c:v>1.1230504029780581</c:v>
                </c:pt>
                <c:pt idx="13">
                  <c:v>1.5744037562939157</c:v>
                </c:pt>
                <c:pt idx="14">
                  <c:v>1.7666088537183855</c:v>
                </c:pt>
                <c:pt idx="15">
                  <c:v>2.1895693450721012</c:v>
                </c:pt>
                <c:pt idx="16">
                  <c:v>5.7621417363156846</c:v>
                </c:pt>
                <c:pt idx="17">
                  <c:v>9.0729336883267155</c:v>
                </c:pt>
                <c:pt idx="18">
                  <c:v>8.858929465993338</c:v>
                </c:pt>
                <c:pt idx="19">
                  <c:v>8.4028818701015666</c:v>
                </c:pt>
                <c:pt idx="20">
                  <c:v>8.1530738548197004</c:v>
                </c:pt>
                <c:pt idx="21">
                  <c:v>9.7405615478144334</c:v>
                </c:pt>
                <c:pt idx="22">
                  <c:v>6.8986236311356421</c:v>
                </c:pt>
                <c:pt idx="23">
                  <c:v>8.0421941131030668</c:v>
                </c:pt>
                <c:pt idx="24">
                  <c:v>3.0586420868000133</c:v>
                </c:pt>
                <c:pt idx="25">
                  <c:v>3.3387819558493312</c:v>
                </c:pt>
                <c:pt idx="26">
                  <c:v>4.3636405435415311</c:v>
                </c:pt>
                <c:pt idx="27">
                  <c:v>6.2465072371476253</c:v>
                </c:pt>
                <c:pt idx="28">
                  <c:v>9.2481365274997849</c:v>
                </c:pt>
                <c:pt idx="29">
                  <c:v>11.573607878891055</c:v>
                </c:pt>
                <c:pt idx="30">
                  <c:v>14.292115861758099</c:v>
                </c:pt>
                <c:pt idx="31">
                  <c:v>13.04332269502933</c:v>
                </c:pt>
                <c:pt idx="32">
                  <c:v>13.960315411400035</c:v>
                </c:pt>
                <c:pt idx="33">
                  <c:v>14.894430571760322</c:v>
                </c:pt>
                <c:pt idx="34">
                  <c:v>13.791495987450963</c:v>
                </c:pt>
                <c:pt idx="35">
                  <c:v>14.354260831121824</c:v>
                </c:pt>
                <c:pt idx="36">
                  <c:v>6.8575374178148145</c:v>
                </c:pt>
                <c:pt idx="37">
                  <c:v>7.3071401649985344</c:v>
                </c:pt>
                <c:pt idx="38">
                  <c:v>8.0721075421918833</c:v>
                </c:pt>
                <c:pt idx="39">
                  <c:v>9.786382344319275</c:v>
                </c:pt>
                <c:pt idx="40">
                  <c:v>10.957861887013694</c:v>
                </c:pt>
                <c:pt idx="41">
                  <c:v>12.100419615561796</c:v>
                </c:pt>
                <c:pt idx="42">
                  <c:v>13.100413250136103</c:v>
                </c:pt>
                <c:pt idx="43">
                  <c:v>11.116201515976382</c:v>
                </c:pt>
                <c:pt idx="44">
                  <c:v>12.224432848946774</c:v>
                </c:pt>
                <c:pt idx="45">
                  <c:v>10.623508187110007</c:v>
                </c:pt>
                <c:pt idx="46">
                  <c:v>9.2555648058964017</c:v>
                </c:pt>
                <c:pt idx="47">
                  <c:v>9.0678651534821384</c:v>
                </c:pt>
                <c:pt idx="48">
                  <c:v>10.674831116001057</c:v>
                </c:pt>
                <c:pt idx="49">
                  <c:v>11.730563967959892</c:v>
                </c:pt>
                <c:pt idx="50">
                  <c:v>9.0763481758505176</c:v>
                </c:pt>
                <c:pt idx="51">
                  <c:v>5.2829167347120016</c:v>
                </c:pt>
                <c:pt idx="52">
                  <c:v>4.2218123354885817</c:v>
                </c:pt>
                <c:pt idx="53">
                  <c:v>4.6557885915725752</c:v>
                </c:pt>
                <c:pt idx="54">
                  <c:v>3.8189462906452656</c:v>
                </c:pt>
                <c:pt idx="55">
                  <c:v>3.3968322014372161</c:v>
                </c:pt>
                <c:pt idx="56">
                  <c:v>4.5143378469386954</c:v>
                </c:pt>
                <c:pt idx="57">
                  <c:v>4.9349273119814887</c:v>
                </c:pt>
                <c:pt idx="58">
                  <c:v>4.1685489680709047</c:v>
                </c:pt>
                <c:pt idx="59">
                  <c:v>3.4074358595519616</c:v>
                </c:pt>
                <c:pt idx="60">
                  <c:v>2.2622758825134599</c:v>
                </c:pt>
                <c:pt idx="61">
                  <c:v>2.2873304816151174</c:v>
                </c:pt>
                <c:pt idx="62">
                  <c:v>2.6253584465649351</c:v>
                </c:pt>
                <c:pt idx="63">
                  <c:v>2.9296098808588407</c:v>
                </c:pt>
                <c:pt idx="64">
                  <c:v>2.9516457487492898</c:v>
                </c:pt>
                <c:pt idx="65">
                  <c:v>3.6165008876202518</c:v>
                </c:pt>
                <c:pt idx="66">
                  <c:v>3.062428533306766</c:v>
                </c:pt>
                <c:pt idx="67">
                  <c:v>3.2707608038844542</c:v>
                </c:pt>
                <c:pt idx="68">
                  <c:v>2.8241137237827516</c:v>
                </c:pt>
                <c:pt idx="69">
                  <c:v>2.7130776495415163</c:v>
                </c:pt>
                <c:pt idx="70">
                  <c:v>2.7468384541536537</c:v>
                </c:pt>
                <c:pt idx="71">
                  <c:v>2.5874822701358782</c:v>
                </c:pt>
                <c:pt idx="72">
                  <c:v>1.4216461452625795</c:v>
                </c:pt>
                <c:pt idx="73">
                  <c:v>1.39216174878611</c:v>
                </c:pt>
                <c:pt idx="74">
                  <c:v>1.573944845262099</c:v>
                </c:pt>
                <c:pt idx="75">
                  <c:v>1.5757850337434975</c:v>
                </c:pt>
                <c:pt idx="76">
                  <c:v>1.8148930620058419</c:v>
                </c:pt>
                <c:pt idx="77">
                  <c:v>2.2614928850497829</c:v>
                </c:pt>
                <c:pt idx="78">
                  <c:v>1.8058740363565489</c:v>
                </c:pt>
                <c:pt idx="79">
                  <c:v>2.3337825854679672</c:v>
                </c:pt>
                <c:pt idx="80">
                  <c:v>2.1102190532956682</c:v>
                </c:pt>
                <c:pt idx="81">
                  <c:v>1.9144126338503307</c:v>
                </c:pt>
                <c:pt idx="82">
                  <c:v>2.5163040577373788</c:v>
                </c:pt>
                <c:pt idx="83">
                  <c:v>2.2522682775994576</c:v>
                </c:pt>
                <c:pt idx="84">
                  <c:v>1.7533648623660028</c:v>
                </c:pt>
                <c:pt idx="85">
                  <c:v>1.4405965727411938</c:v>
                </c:pt>
                <c:pt idx="86">
                  <c:v>1.5157265218223579</c:v>
                </c:pt>
                <c:pt idx="87">
                  <c:v>1.584473788284839</c:v>
                </c:pt>
                <c:pt idx="88">
                  <c:v>1.7908683748085761</c:v>
                </c:pt>
                <c:pt idx="89">
                  <c:v>1.67037366787902</c:v>
                </c:pt>
                <c:pt idx="90">
                  <c:v>2.0202433619831548</c:v>
                </c:pt>
                <c:pt idx="91">
                  <c:v>1.8814060384762641</c:v>
                </c:pt>
                <c:pt idx="92">
                  <c:v>1.5784362656967841</c:v>
                </c:pt>
                <c:pt idx="93">
                  <c:v>1.7056990955206726</c:v>
                </c:pt>
                <c:pt idx="94">
                  <c:v>1.6131385648928029</c:v>
                </c:pt>
                <c:pt idx="95">
                  <c:v>1.628131497128636</c:v>
                </c:pt>
                <c:pt idx="96">
                  <c:v>1.9698963611048135</c:v>
                </c:pt>
                <c:pt idx="97">
                  <c:v>1.4596515165495354</c:v>
                </c:pt>
                <c:pt idx="98">
                  <c:v>1.5921690094460821</c:v>
                </c:pt>
                <c:pt idx="99">
                  <c:v>2.2291003065820316</c:v>
                </c:pt>
                <c:pt idx="100">
                  <c:v>1.8137624373535854</c:v>
                </c:pt>
                <c:pt idx="101">
                  <c:v>2.0727463263810173</c:v>
                </c:pt>
                <c:pt idx="102">
                  <c:v>2.3232587254968626</c:v>
                </c:pt>
                <c:pt idx="103">
                  <c:v>1.7397612803597056</c:v>
                </c:pt>
                <c:pt idx="104">
                  <c:v>2.0035369783117987</c:v>
                </c:pt>
                <c:pt idx="105">
                  <c:v>2.2359115776467942</c:v>
                </c:pt>
                <c:pt idx="106">
                  <c:v>2.7071854728330691</c:v>
                </c:pt>
                <c:pt idx="107">
                  <c:v>2.361011391332275</c:v>
                </c:pt>
                <c:pt idx="108">
                  <c:v>1.8648255877236579</c:v>
                </c:pt>
                <c:pt idx="109">
                  <c:v>1.8490905429920477</c:v>
                </c:pt>
                <c:pt idx="110">
                  <c:v>2.1835581610337971</c:v>
                </c:pt>
                <c:pt idx="111">
                  <c:v>2.3319986108349888</c:v>
                </c:pt>
                <c:pt idx="112">
                  <c:v>2.5478844333996009</c:v>
                </c:pt>
                <c:pt idx="113">
                  <c:v>4.3908247191848897</c:v>
                </c:pt>
                <c:pt idx="114">
                  <c:v>17.775028999999993</c:v>
                </c:pt>
                <c:pt idx="115">
                  <c:v>9.8443819999999995</c:v>
                </c:pt>
                <c:pt idx="116">
                  <c:v>7.0151900000000005</c:v>
                </c:pt>
                <c:pt idx="117">
                  <c:v>5.0470380000000006</c:v>
                </c:pt>
                <c:pt idx="118">
                  <c:v>4.3292107599999969</c:v>
                </c:pt>
                <c:pt idx="119">
                  <c:v>4.8855530215940011</c:v>
                </c:pt>
                <c:pt idx="120">
                  <c:v>3.9512324284211342</c:v>
                </c:pt>
                <c:pt idx="121">
                  <c:v>5.5219175788343042</c:v>
                </c:pt>
                <c:pt idx="122">
                  <c:v>7.9882674013895896</c:v>
                </c:pt>
                <c:pt idx="123">
                  <c:v>12.21765851630802</c:v>
                </c:pt>
                <c:pt idx="124">
                  <c:v>13.1834291321404</c:v>
                </c:pt>
                <c:pt idx="125">
                  <c:v>18.658825997675695</c:v>
                </c:pt>
                <c:pt idx="126">
                  <c:v>16.811773471177364</c:v>
                </c:pt>
                <c:pt idx="127">
                  <c:v>17.877246791524321</c:v>
                </c:pt>
                <c:pt idx="128">
                  <c:v>17.65802657193656</c:v>
                </c:pt>
                <c:pt idx="129">
                  <c:v>15.601843565249442</c:v>
                </c:pt>
                <c:pt idx="130">
                  <c:v>16.455880043107829</c:v>
                </c:pt>
                <c:pt idx="131">
                  <c:v>16.35217254618334</c:v>
                </c:pt>
                <c:pt idx="132">
                  <c:v>11.06281175381676</c:v>
                </c:pt>
                <c:pt idx="133">
                  <c:v>11.944561200693951</c:v>
                </c:pt>
                <c:pt idx="134">
                  <c:v>15.487560979831347</c:v>
                </c:pt>
                <c:pt idx="135">
                  <c:v>14.684990345199401</c:v>
                </c:pt>
                <c:pt idx="136">
                  <c:v>17.734269023058697</c:v>
                </c:pt>
                <c:pt idx="137">
                  <c:v>19.316479813988927</c:v>
                </c:pt>
                <c:pt idx="138">
                  <c:v>17.592375678605929</c:v>
                </c:pt>
                <c:pt idx="139">
                  <c:v>18.862736441097134</c:v>
                </c:pt>
                <c:pt idx="140">
                  <c:v>16.877238867348911</c:v>
                </c:pt>
                <c:pt idx="141">
                  <c:v>15.544927565073781</c:v>
                </c:pt>
                <c:pt idx="142">
                  <c:v>21.993013887675673</c:v>
                </c:pt>
                <c:pt idx="143">
                  <c:v>39.484658381781422</c:v>
                </c:pt>
                <c:pt idx="144">
                  <c:v>58.719050791330005</c:v>
                </c:pt>
                <c:pt idx="145">
                  <c:v>35.564393343939287</c:v>
                </c:pt>
                <c:pt idx="146">
                  <c:v>11.358560789577394</c:v>
                </c:pt>
                <c:pt idx="147">
                  <c:v>9.5468143622059447</c:v>
                </c:pt>
                <c:pt idx="148">
                  <c:v>11.393599800456068</c:v>
                </c:pt>
                <c:pt idx="149">
                  <c:v>10.677706159001898</c:v>
                </c:pt>
                <c:pt idx="150">
                  <c:v>11.241983676050948</c:v>
                </c:pt>
                <c:pt idx="151">
                  <c:v>10.278730699769069</c:v>
                </c:pt>
                <c:pt idx="152">
                  <c:v>9.5867754902566436</c:v>
                </c:pt>
                <c:pt idx="153">
                  <c:v>9.0917776329139031</c:v>
                </c:pt>
                <c:pt idx="154">
                  <c:v>9.2695379632148942</c:v>
                </c:pt>
                <c:pt idx="155">
                  <c:v>8.2498967230756559</c:v>
                </c:pt>
                <c:pt idx="156">
                  <c:v>6.0913604038941171</c:v>
                </c:pt>
                <c:pt idx="157">
                  <c:v>5.6994265458469187</c:v>
                </c:pt>
                <c:pt idx="158">
                  <c:v>6.8336701917130318</c:v>
                </c:pt>
                <c:pt idx="159">
                  <c:v>7.7229970955495881</c:v>
                </c:pt>
                <c:pt idx="160">
                  <c:v>10.200653283272583</c:v>
                </c:pt>
                <c:pt idx="161">
                  <c:v>10.303210026664109</c:v>
                </c:pt>
                <c:pt idx="162">
                  <c:v>11.440367245885286</c:v>
                </c:pt>
                <c:pt idx="163">
                  <c:v>10.401572619259548</c:v>
                </c:pt>
                <c:pt idx="164">
                  <c:v>11.251839685344336</c:v>
                </c:pt>
                <c:pt idx="165">
                  <c:v>11.050944091233456</c:v>
                </c:pt>
                <c:pt idx="166">
                  <c:v>10.269627884883949</c:v>
                </c:pt>
                <c:pt idx="167">
                  <c:v>11.007410393708044</c:v>
                </c:pt>
                <c:pt idx="168">
                  <c:v>9.1048744765839107</c:v>
                </c:pt>
                <c:pt idx="169">
                  <c:v>8.7877998025031694</c:v>
                </c:pt>
                <c:pt idx="170">
                  <c:v>11.014870456697615</c:v>
                </c:pt>
                <c:pt idx="171">
                  <c:v>14.187042522966173</c:v>
                </c:pt>
                <c:pt idx="172">
                  <c:v>16.096004175990839</c:v>
                </c:pt>
                <c:pt idx="173">
                  <c:v>27.083400177307851</c:v>
                </c:pt>
                <c:pt idx="174">
                  <c:v>19.959402259765206</c:v>
                </c:pt>
                <c:pt idx="175">
                  <c:v>17.656642352865127</c:v>
                </c:pt>
                <c:pt idx="176">
                  <c:v>19.005312431624994</c:v>
                </c:pt>
                <c:pt idx="177">
                  <c:v>16.763004964898361</c:v>
                </c:pt>
                <c:pt idx="178">
                  <c:v>16.521149739277682</c:v>
                </c:pt>
                <c:pt idx="179">
                  <c:v>17.860569978641234</c:v>
                </c:pt>
                <c:pt idx="180">
                  <c:v>19.009492127985887</c:v>
                </c:pt>
                <c:pt idx="181">
                  <c:v>10.35194860909218</c:v>
                </c:pt>
                <c:pt idx="182">
                  <c:v>19.072784578265811</c:v>
                </c:pt>
                <c:pt idx="183">
                  <c:v>20.639190185001215</c:v>
                </c:pt>
                <c:pt idx="184">
                  <c:v>20.496962690913726</c:v>
                </c:pt>
                <c:pt idx="185">
                  <c:v>29.309520808741134</c:v>
                </c:pt>
                <c:pt idx="186">
                  <c:v>34.050702562536294</c:v>
                </c:pt>
                <c:pt idx="187">
                  <c:v>32.387239093449558</c:v>
                </c:pt>
                <c:pt idx="188">
                  <c:v>38.748217614359156</c:v>
                </c:pt>
                <c:pt idx="189">
                  <c:v>33.547246568020263</c:v>
                </c:pt>
                <c:pt idx="190">
                  <c:v>29.468025411561136</c:v>
                </c:pt>
                <c:pt idx="191">
                  <c:v>30.140103750073507</c:v>
                </c:pt>
                <c:pt idx="192">
                  <c:v>21.398923415069511</c:v>
                </c:pt>
                <c:pt idx="193">
                  <c:v>23.865443385487517</c:v>
                </c:pt>
                <c:pt idx="194">
                  <c:v>28.220634569999984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Deviza lakáshitel</c:v>
                </c:pt>
              </c:strCache>
            </c:strRef>
          </c:tx>
          <c:spPr>
            <a:solidFill>
              <a:srgbClr val="0070C0"/>
            </a:solidFill>
            <a:ln w="25400">
              <a:noFill/>
            </a:ln>
          </c:spPr>
          <c:cat>
            <c:numRef>
              <c:f>Munka1!$A$2:$A$196</c:f>
              <c:numCache>
                <c:formatCode>[$-40E]yyyy/\ mmm</c:formatCode>
                <c:ptCount val="195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</c:numCache>
            </c:numRef>
          </c:cat>
          <c:val>
            <c:numRef>
              <c:f>Munka1!$D$2:$D$196</c:f>
              <c:numCache>
                <c:formatCode>General</c:formatCode>
                <c:ptCount val="1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1.267000000000001</c:v>
                </c:pt>
                <c:pt idx="61">
                  <c:v>11.728149999999999</c:v>
                </c:pt>
                <c:pt idx="62">
                  <c:v>18.09850999999998</c:v>
                </c:pt>
                <c:pt idx="63">
                  <c:v>22.593959999999999</c:v>
                </c:pt>
                <c:pt idx="64">
                  <c:v>26.1</c:v>
                </c:pt>
                <c:pt idx="65">
                  <c:v>31.737000000000005</c:v>
                </c:pt>
                <c:pt idx="66">
                  <c:v>28.013561000000013</c:v>
                </c:pt>
                <c:pt idx="67">
                  <c:v>32.907512000000011</c:v>
                </c:pt>
                <c:pt idx="68">
                  <c:v>31.239699999999988</c:v>
                </c:pt>
                <c:pt idx="69">
                  <c:v>29.798999999999989</c:v>
                </c:pt>
                <c:pt idx="70">
                  <c:v>35.77713500000003</c:v>
                </c:pt>
                <c:pt idx="71">
                  <c:v>30.100039000000002</c:v>
                </c:pt>
                <c:pt idx="72">
                  <c:v>23.887156999999988</c:v>
                </c:pt>
                <c:pt idx="73">
                  <c:v>22.757404000000001</c:v>
                </c:pt>
                <c:pt idx="74">
                  <c:v>31.543948</c:v>
                </c:pt>
                <c:pt idx="75">
                  <c:v>36.746130000000022</c:v>
                </c:pt>
                <c:pt idx="76">
                  <c:v>46.883430000000004</c:v>
                </c:pt>
                <c:pt idx="77">
                  <c:v>46.915204000000003</c:v>
                </c:pt>
                <c:pt idx="78">
                  <c:v>45.926113000000022</c:v>
                </c:pt>
                <c:pt idx="79">
                  <c:v>53.656403000000005</c:v>
                </c:pt>
                <c:pt idx="80">
                  <c:v>46.957292999999993</c:v>
                </c:pt>
                <c:pt idx="81">
                  <c:v>50.409766999999995</c:v>
                </c:pt>
                <c:pt idx="82">
                  <c:v>55.157194000000004</c:v>
                </c:pt>
                <c:pt idx="83">
                  <c:v>54.436273</c:v>
                </c:pt>
                <c:pt idx="84">
                  <c:v>42.277878000000001</c:v>
                </c:pt>
                <c:pt idx="85">
                  <c:v>39.426836000000002</c:v>
                </c:pt>
                <c:pt idx="86">
                  <c:v>42.766168000000022</c:v>
                </c:pt>
                <c:pt idx="87">
                  <c:v>47.957200999999998</c:v>
                </c:pt>
                <c:pt idx="88">
                  <c:v>56.065695000000012</c:v>
                </c:pt>
                <c:pt idx="89">
                  <c:v>58.250050000000002</c:v>
                </c:pt>
                <c:pt idx="90">
                  <c:v>61.693512000000048</c:v>
                </c:pt>
                <c:pt idx="91">
                  <c:v>60.134994000000006</c:v>
                </c:pt>
                <c:pt idx="92">
                  <c:v>53.243219127000003</c:v>
                </c:pt>
                <c:pt idx="93">
                  <c:v>66.034300928421018</c:v>
                </c:pt>
                <c:pt idx="94">
                  <c:v>69.469789340000005</c:v>
                </c:pt>
                <c:pt idx="95">
                  <c:v>65.796652962499948</c:v>
                </c:pt>
                <c:pt idx="96">
                  <c:v>57.724458173750001</c:v>
                </c:pt>
                <c:pt idx="97">
                  <c:v>54.035248005</c:v>
                </c:pt>
                <c:pt idx="98">
                  <c:v>59.703141860000002</c:v>
                </c:pt>
                <c:pt idx="99">
                  <c:v>77.380382767499924</c:v>
                </c:pt>
                <c:pt idx="100">
                  <c:v>64.433609596249994</c:v>
                </c:pt>
                <c:pt idx="101">
                  <c:v>69.609924387500001</c:v>
                </c:pt>
                <c:pt idx="102">
                  <c:v>75.804481749999979</c:v>
                </c:pt>
                <c:pt idx="103">
                  <c:v>64.345790053999934</c:v>
                </c:pt>
                <c:pt idx="104">
                  <c:v>73.607635137999935</c:v>
                </c:pt>
                <c:pt idx="105">
                  <c:v>79.805058363999933</c:v>
                </c:pt>
                <c:pt idx="106">
                  <c:v>54.030434</c:v>
                </c:pt>
                <c:pt idx="107">
                  <c:v>43.044151000000006</c:v>
                </c:pt>
                <c:pt idx="108">
                  <c:v>28.441245999999989</c:v>
                </c:pt>
                <c:pt idx="109">
                  <c:v>21.412925000000001</c:v>
                </c:pt>
                <c:pt idx="110">
                  <c:v>21.032881000000014</c:v>
                </c:pt>
                <c:pt idx="111">
                  <c:v>16.337783000000005</c:v>
                </c:pt>
                <c:pt idx="112">
                  <c:v>16.556962000000009</c:v>
                </c:pt>
                <c:pt idx="113">
                  <c:v>19.025032999999983</c:v>
                </c:pt>
                <c:pt idx="114">
                  <c:v>19.572611999999989</c:v>
                </c:pt>
                <c:pt idx="115">
                  <c:v>15.638723999999998</c:v>
                </c:pt>
                <c:pt idx="116">
                  <c:v>16.984444999999983</c:v>
                </c:pt>
                <c:pt idx="117">
                  <c:v>15.793779000000001</c:v>
                </c:pt>
                <c:pt idx="118">
                  <c:v>15.658799</c:v>
                </c:pt>
                <c:pt idx="119">
                  <c:v>14.026049</c:v>
                </c:pt>
                <c:pt idx="120">
                  <c:v>10.127686000000002</c:v>
                </c:pt>
                <c:pt idx="121">
                  <c:v>13.743230000000001</c:v>
                </c:pt>
                <c:pt idx="122">
                  <c:v>13.446609</c:v>
                </c:pt>
                <c:pt idx="123">
                  <c:v>6.0306949999999997</c:v>
                </c:pt>
                <c:pt idx="124">
                  <c:v>4.1557490000000001</c:v>
                </c:pt>
                <c:pt idx="125">
                  <c:v>4.811121</c:v>
                </c:pt>
                <c:pt idx="126">
                  <c:v>1.618066</c:v>
                </c:pt>
                <c:pt idx="127">
                  <c:v>0.89974900000000035</c:v>
                </c:pt>
                <c:pt idx="128">
                  <c:v>0.46779600000000005</c:v>
                </c:pt>
                <c:pt idx="129">
                  <c:v>0.264679</c:v>
                </c:pt>
                <c:pt idx="130">
                  <c:v>0.92141699999999938</c:v>
                </c:pt>
                <c:pt idx="131">
                  <c:v>0.30195100000000008</c:v>
                </c:pt>
                <c:pt idx="132">
                  <c:v>0.24302100000000001</c:v>
                </c:pt>
                <c:pt idx="133">
                  <c:v>0.46258000000000021</c:v>
                </c:pt>
                <c:pt idx="134">
                  <c:v>0.68132599999999999</c:v>
                </c:pt>
                <c:pt idx="135">
                  <c:v>0.67593000000000036</c:v>
                </c:pt>
                <c:pt idx="136">
                  <c:v>7.9699999999999993E-2</c:v>
                </c:pt>
                <c:pt idx="137">
                  <c:v>0.40998700000000027</c:v>
                </c:pt>
                <c:pt idx="138">
                  <c:v>0.4290150000000002</c:v>
                </c:pt>
                <c:pt idx="139">
                  <c:v>0.86092500000000061</c:v>
                </c:pt>
                <c:pt idx="140">
                  <c:v>0.47756700000000002</c:v>
                </c:pt>
                <c:pt idx="141">
                  <c:v>0.18335899999999999</c:v>
                </c:pt>
                <c:pt idx="142">
                  <c:v>0.21980400000000008</c:v>
                </c:pt>
                <c:pt idx="143">
                  <c:v>0.39595100000000016</c:v>
                </c:pt>
                <c:pt idx="144">
                  <c:v>5.3999000000000012E-2</c:v>
                </c:pt>
                <c:pt idx="145">
                  <c:v>2.9627000000000001E-2</c:v>
                </c:pt>
                <c:pt idx="146">
                  <c:v>5.2560000000000029E-3</c:v>
                </c:pt>
                <c:pt idx="147">
                  <c:v>0</c:v>
                </c:pt>
                <c:pt idx="148">
                  <c:v>0</c:v>
                </c:pt>
                <c:pt idx="149">
                  <c:v>4.9737000000000038E-2</c:v>
                </c:pt>
                <c:pt idx="150">
                  <c:v>0.13852</c:v>
                </c:pt>
                <c:pt idx="151">
                  <c:v>0</c:v>
                </c:pt>
                <c:pt idx="152">
                  <c:v>0</c:v>
                </c:pt>
                <c:pt idx="153">
                  <c:v>2.6132000000000002E-2</c:v>
                </c:pt>
                <c:pt idx="154">
                  <c:v>4.0265000000000002E-2</c:v>
                </c:pt>
                <c:pt idx="155">
                  <c:v>0.18082799999999999</c:v>
                </c:pt>
                <c:pt idx="156">
                  <c:v>3.4995999999999999E-2</c:v>
                </c:pt>
                <c:pt idx="157">
                  <c:v>0</c:v>
                </c:pt>
                <c:pt idx="158">
                  <c:v>0</c:v>
                </c:pt>
                <c:pt idx="159">
                  <c:v>6.9938000000000014E-2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4.5403000000000013E-2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3276416"/>
        <c:axId val="133277952"/>
      </c:areaChart>
      <c:dateAx>
        <c:axId val="133276416"/>
        <c:scaling>
          <c:orientation val="minMax"/>
          <c:max val="42430"/>
          <c:min val="36526"/>
        </c:scaling>
        <c:delete val="0"/>
        <c:axPos val="b"/>
        <c:numFmt formatCode="[$-40E]yyyy/\ mmm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alibri Light" panose="020F0302020204030204" pitchFamily="34" charset="0"/>
              </a:defRPr>
            </a:pPr>
            <a:endParaRPr lang="hu-HU"/>
          </a:p>
        </c:txPr>
        <c:crossAx val="133277952"/>
        <c:crosses val="autoZero"/>
        <c:auto val="1"/>
        <c:lblOffset val="100"/>
        <c:baseTimeUnit val="months"/>
      </c:dateAx>
      <c:valAx>
        <c:axId val="1332779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Aharoni" panose="02010803020104030203" pitchFamily="2" charset="-79"/>
              </a:defRPr>
            </a:pPr>
            <a:endParaRPr lang="hu-HU"/>
          </a:p>
        </c:txPr>
        <c:crossAx val="133276416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69305471195266455"/>
          <c:y val="1.1175025726102395E-2"/>
          <c:w val="0.29410530323108536"/>
          <c:h val="0.34005589766737071"/>
        </c:manualLayout>
      </c:layout>
      <c:overlay val="0"/>
      <c:txPr>
        <a:bodyPr/>
        <a:lstStyle/>
        <a:p>
          <a:pPr>
            <a:defRPr sz="1600">
              <a:latin typeface="Calibri Light" panose="020F0302020204030204" pitchFamily="34" charset="0"/>
            </a:defRPr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925759615051879E-2"/>
          <c:y val="0.14683587598425196"/>
          <c:w val="0.90686189694769792"/>
          <c:h val="0.628310285433070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Új lakás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0"/>
              <c:layout>
                <c:manualLayout>
                  <c:x val="1.4456499368922582E-3"/>
                  <c:y val="-1.48065145539384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3369498106767745E-3"/>
                  <c:y val="-8.521911917194384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8912998737845156E-3"/>
                  <c:y val="-1.037645122764137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4456499368922582E-3"/>
                  <c:y val="-8.590770007036254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4.3368359799730817E-3"/>
                  <c:y val="-1.082460745102395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1.6116264859460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8912998737845156E-3"/>
                  <c:y val="-1.66486131170610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2.8912998737845156E-3"/>
                  <c:y val="-1.13815478835684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4.3369498106767745E-3"/>
                  <c:y val="-2.328705375328666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1383070369230385E-7"/>
                  <c:y val="-9.4335583083361117E-3"/>
                </c:manualLayout>
              </c:layout>
              <c:tx>
                <c:rich>
                  <a:bodyPr/>
                  <a:lstStyle/>
                  <a:p>
                    <a:r>
                      <a:rPr lang="hu-HU" dirty="0" smtClean="0"/>
                      <a:t>9</a:t>
                    </a:r>
                    <a:r>
                      <a:rPr lang="en-US" dirty="0" smtClean="0"/>
                      <a:t>00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400"/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Munka1!$A$2:$A$11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*</c:v>
                </c:pt>
                <c:pt idx="9">
                  <c:v>2016**</c:v>
                </c:pt>
              </c:strCache>
            </c:strRef>
          </c:cat>
          <c:val>
            <c:numRef>
              <c:f>Munka1!$B$2:$B$11</c:f>
              <c:numCache>
                <c:formatCode>#,##0</c:formatCode>
                <c:ptCount val="10"/>
                <c:pt idx="0">
                  <c:v>6403</c:v>
                </c:pt>
                <c:pt idx="1">
                  <c:v>14098</c:v>
                </c:pt>
                <c:pt idx="2">
                  <c:v>8261</c:v>
                </c:pt>
                <c:pt idx="3">
                  <c:v>4785</c:v>
                </c:pt>
                <c:pt idx="4">
                  <c:v>3868</c:v>
                </c:pt>
                <c:pt idx="5">
                  <c:v>2634</c:v>
                </c:pt>
                <c:pt idx="6">
                  <c:v>2295</c:v>
                </c:pt>
                <c:pt idx="7">
                  <c:v>3309</c:v>
                </c:pt>
                <c:pt idx="8">
                  <c:v>2657</c:v>
                </c:pt>
                <c:pt idx="9">
                  <c:v>10000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Használt lakás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dLbl>
              <c:idx val="4"/>
              <c:layout>
                <c:manualLayout>
                  <c:x val="0"/>
                  <c:y val="-2.204616153760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1.46974410250712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-1.46974410250713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hu-HU" dirty="0" smtClean="0"/>
                      <a:t>1510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 rot="-5400000" vert="horz"/>
              <a:lstStyle/>
              <a:p>
                <a:pPr>
                  <a:defRPr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1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*</c:v>
                </c:pt>
                <c:pt idx="9">
                  <c:v>2016**</c:v>
                </c:pt>
              </c:strCache>
            </c:strRef>
          </c:cat>
          <c:val>
            <c:numRef>
              <c:f>Munka1!$C$2:$C$11</c:f>
              <c:numCache>
                <c:formatCode>General</c:formatCode>
                <c:ptCount val="10"/>
                <c:pt idx="0">
                  <c:v>184767</c:v>
                </c:pt>
                <c:pt idx="1">
                  <c:v>139999</c:v>
                </c:pt>
                <c:pt idx="2">
                  <c:v>82876</c:v>
                </c:pt>
                <c:pt idx="3">
                  <c:v>85486</c:v>
                </c:pt>
                <c:pt idx="4">
                  <c:v>83862</c:v>
                </c:pt>
                <c:pt idx="5">
                  <c:v>83323</c:v>
                </c:pt>
                <c:pt idx="6">
                  <c:v>86418</c:v>
                </c:pt>
                <c:pt idx="7">
                  <c:v>110480</c:v>
                </c:pt>
                <c:pt idx="8">
                  <c:v>132343</c:v>
                </c:pt>
                <c:pt idx="9">
                  <c:v>17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overlap val="100"/>
        <c:axId val="270310400"/>
        <c:axId val="270336768"/>
      </c:barChart>
      <c:lineChart>
        <c:grouping val="standard"/>
        <c:varyColors val="0"/>
        <c:ser>
          <c:idx val="2"/>
          <c:order val="2"/>
          <c:tx>
            <c:strRef>
              <c:f>Munka1!$D$1</c:f>
              <c:strCache>
                <c:ptCount val="1"/>
                <c:pt idx="0">
                  <c:v>Oszlop1</c:v>
                </c:pt>
              </c:strCache>
            </c:strRef>
          </c:tx>
          <c:spPr>
            <a:ln>
              <a:noFill/>
            </a:ln>
          </c:spPr>
          <c:marker>
            <c:spPr>
              <a:noFill/>
              <a:ln>
                <a:noFill/>
              </a:ln>
            </c:spPr>
          </c:marker>
          <c:dLbls>
            <c:dLbl>
              <c:idx val="0"/>
              <c:layout>
                <c:manualLayout>
                  <c:x val="-6.0587188855154524E-2"/>
                  <c:y val="-8.08359256378921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6250239044477762E-2"/>
                  <c:y val="-7.71615653816242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965454658043459E-2"/>
                  <c:y val="-8.45102858941599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676324670665008E-2"/>
                  <c:y val="-4.04179628189460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9654546580434535E-2"/>
                  <c:y val="-4.77666833314817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965454658043459E-2"/>
                  <c:y val="-5.51154038440173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2426296895973326E-2"/>
                  <c:y val="-4.40923230752138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5.9141538918262272E-2"/>
                  <c:y val="-6.6138484612820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9141538918262272E-2"/>
                  <c:y val="-4.40923230752139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381062395617245E-2"/>
                  <c:y val="-6.246412435655298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hu-HU" dirty="0" smtClean="0"/>
                      <a:t>6</a:t>
                    </a:r>
                    <a:r>
                      <a:rPr lang="en-US" dirty="0" smtClean="0"/>
                      <a:t>0 </a:t>
                    </a:r>
                    <a:r>
                      <a:rPr lang="en-US" dirty="0"/>
                      <a:t>000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1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*</c:v>
                </c:pt>
                <c:pt idx="9">
                  <c:v>2016**</c:v>
                </c:pt>
              </c:strCache>
            </c:strRef>
          </c:cat>
          <c:val>
            <c:numRef>
              <c:f>Munka1!$D$2:$D$11</c:f>
              <c:numCache>
                <c:formatCode>#,##0</c:formatCode>
                <c:ptCount val="10"/>
                <c:pt idx="0">
                  <c:v>191170</c:v>
                </c:pt>
                <c:pt idx="1">
                  <c:v>154097</c:v>
                </c:pt>
                <c:pt idx="2">
                  <c:v>91137</c:v>
                </c:pt>
                <c:pt idx="3">
                  <c:v>90271</c:v>
                </c:pt>
                <c:pt idx="4">
                  <c:v>87730</c:v>
                </c:pt>
                <c:pt idx="5">
                  <c:v>85957</c:v>
                </c:pt>
                <c:pt idx="6">
                  <c:v>88713</c:v>
                </c:pt>
                <c:pt idx="7">
                  <c:v>113789</c:v>
                </c:pt>
                <c:pt idx="8">
                  <c:v>135000</c:v>
                </c:pt>
                <c:pt idx="9">
                  <c:v>1800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8601216"/>
        <c:axId val="307534464"/>
      </c:lineChart>
      <c:catAx>
        <c:axId val="270310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70336768"/>
        <c:crosses val="autoZero"/>
        <c:auto val="1"/>
        <c:lblAlgn val="ctr"/>
        <c:lblOffset val="100"/>
        <c:noMultiLvlLbl val="0"/>
      </c:catAx>
      <c:valAx>
        <c:axId val="270336768"/>
        <c:scaling>
          <c:orientation val="minMax"/>
          <c:max val="200000"/>
          <c:min val="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1600"/>
                </a:pPr>
                <a:r>
                  <a:rPr lang="hu-HU" sz="1600" dirty="0" smtClean="0"/>
                  <a:t>db</a:t>
                </a:r>
                <a:endParaRPr lang="hu-HU" sz="1600" dirty="0"/>
              </a:p>
            </c:rich>
          </c:tx>
          <c:layout>
            <c:manualLayout>
              <c:xMode val="edge"/>
              <c:yMode val="edge"/>
              <c:x val="1.5731858573091149E-2"/>
              <c:y val="2.3530082305669744E-2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hu-HU"/>
          </a:p>
        </c:txPr>
        <c:crossAx val="270310400"/>
        <c:crosses val="autoZero"/>
        <c:crossBetween val="between"/>
        <c:majorUnit val="50000"/>
      </c:valAx>
      <c:valAx>
        <c:axId val="307534464"/>
        <c:scaling>
          <c:orientation val="minMax"/>
        </c:scaling>
        <c:delete val="1"/>
        <c:axPos val="r"/>
        <c:numFmt formatCode="#,##0" sourceLinked="1"/>
        <c:majorTickMark val="out"/>
        <c:minorTickMark val="none"/>
        <c:tickLblPos val="none"/>
        <c:crossAx val="308601216"/>
        <c:crosses val="max"/>
        <c:crossBetween val="between"/>
      </c:valAx>
      <c:catAx>
        <c:axId val="308601216"/>
        <c:scaling>
          <c:orientation val="minMax"/>
        </c:scaling>
        <c:delete val="1"/>
        <c:axPos val="t"/>
        <c:majorTickMark val="out"/>
        <c:minorTickMark val="none"/>
        <c:tickLblPos val="none"/>
        <c:crossAx val="307534464"/>
        <c:crosses val="max"/>
        <c:auto val="1"/>
        <c:lblAlgn val="ctr"/>
        <c:lblOffset val="100"/>
        <c:noMultiLvlLbl val="0"/>
      </c:catAx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0.30079319510946884"/>
          <c:y val="0"/>
          <c:w val="0.3623703695946352"/>
          <c:h val="0.2039651844239528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925759615051879E-2"/>
          <c:y val="0.28589442442903168"/>
          <c:w val="0.90686189694769792"/>
          <c:h val="0.48925198787436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Építési engedélyek száma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2000"/>
                </a:pPr>
                <a:endParaRPr lang="hu-H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Munka1!$A$2:$A$16</c:f>
              <c:strCache>
                <c:ptCount val="15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*</c:v>
                </c:pt>
              </c:strCache>
            </c:strRef>
          </c:cat>
          <c:val>
            <c:numRef>
              <c:f>Munka1!$B$2:$B$16</c:f>
              <c:numCache>
                <c:formatCode>General</c:formatCode>
                <c:ptCount val="15"/>
                <c:pt idx="0">
                  <c:v>48762</c:v>
                </c:pt>
                <c:pt idx="1">
                  <c:v>59241</c:v>
                </c:pt>
                <c:pt idx="2">
                  <c:v>57459</c:v>
                </c:pt>
                <c:pt idx="3">
                  <c:v>51490</c:v>
                </c:pt>
                <c:pt idx="4" formatCode="#,##0">
                  <c:v>44826</c:v>
                </c:pt>
                <c:pt idx="5" formatCode="#,##0">
                  <c:v>44276</c:v>
                </c:pt>
                <c:pt idx="6" formatCode="#,##0">
                  <c:v>43862</c:v>
                </c:pt>
                <c:pt idx="7" formatCode="#,##0">
                  <c:v>28400</c:v>
                </c:pt>
                <c:pt idx="8" formatCode="#,##0">
                  <c:v>17353</c:v>
                </c:pt>
                <c:pt idx="9" formatCode="#,##0">
                  <c:v>12488</c:v>
                </c:pt>
                <c:pt idx="10" formatCode="#,##0">
                  <c:v>10600</c:v>
                </c:pt>
                <c:pt idx="11" formatCode="#,##0">
                  <c:v>7536</c:v>
                </c:pt>
                <c:pt idx="12" formatCode="#,##0">
                  <c:v>9633</c:v>
                </c:pt>
                <c:pt idx="13" formatCode="#,##0">
                  <c:v>12515</c:v>
                </c:pt>
                <c:pt idx="14">
                  <c:v>47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axId val="311107968"/>
        <c:axId val="311109888"/>
      </c:barChart>
      <c:catAx>
        <c:axId val="311107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311109888"/>
        <c:crosses val="autoZero"/>
        <c:auto val="1"/>
        <c:lblAlgn val="ctr"/>
        <c:lblOffset val="100"/>
        <c:noMultiLvlLbl val="0"/>
      </c:catAx>
      <c:valAx>
        <c:axId val="311109888"/>
        <c:scaling>
          <c:orientation val="minMax"/>
          <c:max val="6000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1600"/>
                </a:pPr>
                <a:r>
                  <a:rPr lang="hu-HU" sz="1600" dirty="0" smtClean="0"/>
                  <a:t>db</a:t>
                </a:r>
                <a:endParaRPr lang="hu-HU" sz="1600" dirty="0"/>
              </a:p>
            </c:rich>
          </c:tx>
          <c:layout>
            <c:manualLayout>
              <c:xMode val="edge"/>
              <c:yMode val="edge"/>
              <c:x val="1.5731858573091149E-2"/>
              <c:y val="0.10608602590255931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hu-HU"/>
          </a:p>
        </c:txPr>
        <c:crossAx val="311107968"/>
        <c:crosses val="autoZero"/>
        <c:crossBetween val="between"/>
        <c:majorUnit val="100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925759615051879E-2"/>
          <c:y val="0.25565953664722829"/>
          <c:w val="0.90686189694769792"/>
          <c:h val="0.51948660550718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Társasházi laká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2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6</c:f>
              <c:strCache>
                <c:ptCount val="15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*</c:v>
                </c:pt>
              </c:strCache>
            </c:strRef>
          </c:cat>
          <c:val>
            <c:numRef>
              <c:f>Munka1!$B$2:$B$16</c:f>
              <c:numCache>
                <c:formatCode>General</c:formatCode>
                <c:ptCount val="15"/>
                <c:pt idx="0">
                  <c:v>9733</c:v>
                </c:pt>
                <c:pt idx="1">
                  <c:v>10590</c:v>
                </c:pt>
                <c:pt idx="2">
                  <c:v>21528</c:v>
                </c:pt>
                <c:pt idx="3">
                  <c:v>22325</c:v>
                </c:pt>
                <c:pt idx="4">
                  <c:v>16475</c:v>
                </c:pt>
                <c:pt idx="5">
                  <c:v>19968</c:v>
                </c:pt>
                <c:pt idx="6">
                  <c:v>22812</c:v>
                </c:pt>
                <c:pt idx="7">
                  <c:v>22200</c:v>
                </c:pt>
                <c:pt idx="8">
                  <c:v>14892</c:v>
                </c:pt>
                <c:pt idx="9">
                  <c:v>6777</c:v>
                </c:pt>
                <c:pt idx="10">
                  <c:v>5436</c:v>
                </c:pt>
                <c:pt idx="11">
                  <c:v>3492</c:v>
                </c:pt>
                <c:pt idx="12">
                  <c:v>4194</c:v>
                </c:pt>
                <c:pt idx="13">
                  <c:v>2999</c:v>
                </c:pt>
                <c:pt idx="14">
                  <c:v>703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Családi ház</c:v>
                </c:pt>
              </c:strCache>
            </c:strRef>
          </c:tx>
          <c:invertIfNegative val="0"/>
          <c:dLbls>
            <c:dLbl>
              <c:idx val="14"/>
              <c:layout>
                <c:manualLayout>
                  <c:x val="1.0601310403300801E-16"/>
                  <c:y val="-4.14480640889331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6</c:f>
              <c:strCache>
                <c:ptCount val="15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*</c:v>
                </c:pt>
              </c:strCache>
            </c:strRef>
          </c:cat>
          <c:val>
            <c:numRef>
              <c:f>Munka1!$C$2:$C$16</c:f>
              <c:numCache>
                <c:formatCode>#,##0</c:formatCode>
                <c:ptCount val="15"/>
                <c:pt idx="0">
                  <c:v>19932</c:v>
                </c:pt>
                <c:pt idx="1">
                  <c:v>21866</c:v>
                </c:pt>
                <c:pt idx="2">
                  <c:v>25161</c:v>
                </c:pt>
                <c:pt idx="3">
                  <c:v>20694</c:v>
                </c:pt>
                <c:pt idx="4">
                  <c:v>18591</c:v>
                </c:pt>
                <c:pt idx="5">
                  <c:v>18707</c:v>
                </c:pt>
                <c:pt idx="6">
                  <c:v>18895</c:v>
                </c:pt>
                <c:pt idx="7">
                  <c:v>15320</c:v>
                </c:pt>
                <c:pt idx="8">
                  <c:v>10300</c:v>
                </c:pt>
                <c:pt idx="9">
                  <c:v>8007</c:v>
                </c:pt>
                <c:pt idx="10">
                  <c:v>7177</c:v>
                </c:pt>
                <c:pt idx="11">
                  <c:v>4167</c:v>
                </c:pt>
                <c:pt idx="12">
                  <c:v>4911</c:v>
                </c:pt>
                <c:pt idx="13">
                  <c:v>4476</c:v>
                </c:pt>
                <c:pt idx="14">
                  <c:v>704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Oszlop1</c:v>
                </c:pt>
              </c:strCache>
            </c:strRef>
          </c:tx>
          <c:spPr>
            <a:noFill/>
          </c:spPr>
          <c:invertIfNegative val="0"/>
          <c:dLbls>
            <c:dLbl>
              <c:idx val="0"/>
              <c:layout>
                <c:manualLayout>
                  <c:x val="-1.4456499368922713E-3"/>
                  <c:y val="1.676996650793353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1.0601310403300801E-16"/>
                  <c:y val="-0.1690062037924797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 rot="-5400000" vert="horz"/>
              <a:lstStyle/>
              <a:p>
                <a:pPr>
                  <a:defRPr/>
                </a:pPr>
                <a:endParaRPr lang="hu-H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6</c:f>
              <c:strCache>
                <c:ptCount val="15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*</c:v>
                </c:pt>
              </c:strCache>
            </c:strRef>
          </c:cat>
          <c:val>
            <c:numRef>
              <c:f>Munka1!$D$2:$D$16</c:f>
              <c:numCache>
                <c:formatCode>General</c:formatCode>
                <c:ptCount val="15"/>
                <c:pt idx="0">
                  <c:v>30575</c:v>
                </c:pt>
                <c:pt idx="1">
                  <c:v>34362</c:v>
                </c:pt>
                <c:pt idx="2">
                  <c:v>42272</c:v>
                </c:pt>
                <c:pt idx="3">
                  <c:v>39771</c:v>
                </c:pt>
                <c:pt idx="4">
                  <c:v>33560</c:v>
                </c:pt>
                <c:pt idx="5">
                  <c:v>35672</c:v>
                </c:pt>
                <c:pt idx="6">
                  <c:v>36031</c:v>
                </c:pt>
                <c:pt idx="7">
                  <c:v>31920</c:v>
                </c:pt>
                <c:pt idx="8">
                  <c:v>20740</c:v>
                </c:pt>
                <c:pt idx="9">
                  <c:v>12533</c:v>
                </c:pt>
                <c:pt idx="10">
                  <c:v>10455</c:v>
                </c:pt>
                <c:pt idx="11">
                  <c:v>7146</c:v>
                </c:pt>
                <c:pt idx="12">
                  <c:v>8327</c:v>
                </c:pt>
                <c:pt idx="13">
                  <c:v>7612</c:v>
                </c:pt>
                <c:pt idx="14">
                  <c:v>14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overlap val="100"/>
        <c:axId val="310297728"/>
        <c:axId val="310299264"/>
      </c:barChart>
      <c:catAx>
        <c:axId val="310297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310299264"/>
        <c:crosses val="autoZero"/>
        <c:auto val="1"/>
        <c:lblAlgn val="ctr"/>
        <c:lblOffset val="100"/>
        <c:noMultiLvlLbl val="0"/>
      </c:catAx>
      <c:valAx>
        <c:axId val="310299264"/>
        <c:scaling>
          <c:orientation val="minMax"/>
          <c:max val="5000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1600"/>
                </a:pPr>
                <a:r>
                  <a:rPr lang="hu-HU" sz="1600" dirty="0" smtClean="0"/>
                  <a:t>db</a:t>
                </a:r>
                <a:endParaRPr lang="hu-HU" sz="1600" dirty="0"/>
              </a:p>
            </c:rich>
          </c:tx>
          <c:layout>
            <c:manualLayout>
              <c:xMode val="edge"/>
              <c:yMode val="edge"/>
              <c:x val="1.5731858573091149E-2"/>
              <c:y val="0.10608602590255931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hu-HU"/>
          </a:p>
        </c:txPr>
        <c:crossAx val="310297728"/>
        <c:crosses val="autoZero"/>
        <c:crossBetween val="between"/>
        <c:majorUnit val="10000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78008397518672778"/>
          <c:y val="7.2830739595919458E-2"/>
          <c:w val="0.20545952544434953"/>
          <c:h val="0.25564426174579391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477804826558918E-2"/>
          <c:y val="0.24294458950170275"/>
          <c:w val="0.46284417687639234"/>
          <c:h val="0.51704426218491273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Oszlop1</c:v>
                </c:pt>
              </c:strCache>
            </c:strRef>
          </c:tx>
          <c:spPr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FF00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FFFF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rgbClr val="86DF49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3.5603439914648747E-3"/>
                  <c:y val="3.5140841647487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5325174493658435E-3"/>
                  <c:y val="6.26242897649446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079997228522907E-2"/>
                  <c:y val="-0.258389024937069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5686633457563642E-3"/>
                  <c:y val="1.39165088366543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5</c:f>
              <c:strCache>
                <c:ptCount val="4"/>
                <c:pt idx="0">
                  <c:v>Építés</c:v>
                </c:pt>
                <c:pt idx="1">
                  <c:v>Új lakás vásárlás</c:v>
                </c:pt>
                <c:pt idx="2">
                  <c:v>Használt lakás vásárlás</c:v>
                </c:pt>
                <c:pt idx="3">
                  <c:v>Bővítés</c:v>
                </c:pt>
              </c:strCache>
            </c:strRef>
          </c:cat>
          <c:val>
            <c:numRef>
              <c:f>Munka1!$B$2:$B$5</c:f>
              <c:numCache>
                <c:formatCode>0%</c:formatCode>
                <c:ptCount val="4"/>
                <c:pt idx="0">
                  <c:v>5.293048614266245E-2</c:v>
                </c:pt>
                <c:pt idx="1">
                  <c:v>1.6356201726487961E-2</c:v>
                </c:pt>
                <c:pt idx="2">
                  <c:v>0.90867787369377639</c:v>
                </c:pt>
                <c:pt idx="3">
                  <c:v>2.203543843707408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4601746463296585"/>
          <c:y val="0.17707141558430325"/>
          <c:w val="0.44008839838409924"/>
          <c:h val="0.7686494090445648"/>
        </c:manualLayout>
      </c:layout>
      <c:overlay val="0"/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416329135520077E-2"/>
          <c:y val="0.19582001795739681"/>
          <c:w val="0.48159283633583366"/>
          <c:h val="0.6513412765348322"/>
        </c:manualLayout>
      </c:layout>
      <c:pie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Oszlop1</c:v>
                </c:pt>
              </c:strCache>
            </c:strRef>
          </c:tx>
          <c:spPr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FF00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FFFF0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rgbClr val="86DF49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3.5603439914648747E-3"/>
                  <c:y val="3.5140841647487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8529591108134246E-2"/>
                  <c:y val="5.02746055521404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079997228522907E-2"/>
                  <c:y val="-0.258389024937069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5686633457563642E-3"/>
                  <c:y val="1.39165088366543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5</c:f>
              <c:strCache>
                <c:ptCount val="4"/>
                <c:pt idx="0">
                  <c:v>Építés</c:v>
                </c:pt>
                <c:pt idx="1">
                  <c:v>Új lakás vásárlás</c:v>
                </c:pt>
                <c:pt idx="2">
                  <c:v>Használt lakás vásárlás</c:v>
                </c:pt>
                <c:pt idx="3">
                  <c:v>Bővítés</c:v>
                </c:pt>
              </c:strCache>
            </c:strRef>
          </c:cat>
          <c:val>
            <c:numRef>
              <c:f>Munka1!$B$2:$B$5</c:f>
              <c:numCache>
                <c:formatCode>0%</c:formatCode>
                <c:ptCount val="4"/>
                <c:pt idx="0">
                  <c:v>0.21204735376044587</c:v>
                </c:pt>
                <c:pt idx="1">
                  <c:v>4.6657381615598889E-2</c:v>
                </c:pt>
                <c:pt idx="2">
                  <c:v>0.71866295264623969</c:v>
                </c:pt>
                <c:pt idx="3">
                  <c:v>2.203543843707408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image" Target="../media/image20.emf"/><Relationship Id="rId18" Type="http://schemas.openxmlformats.org/officeDocument/2006/relationships/image" Target="../media/image25.emf"/><Relationship Id="rId3" Type="http://schemas.openxmlformats.org/officeDocument/2006/relationships/image" Target="../media/image11.emf"/><Relationship Id="rId21" Type="http://schemas.openxmlformats.org/officeDocument/2006/relationships/image" Target="../media/image28.emf"/><Relationship Id="rId7" Type="http://schemas.openxmlformats.org/officeDocument/2006/relationships/image" Target="../media/image14.emf"/><Relationship Id="rId12" Type="http://schemas.openxmlformats.org/officeDocument/2006/relationships/image" Target="../media/image19.emf"/><Relationship Id="rId17" Type="http://schemas.openxmlformats.org/officeDocument/2006/relationships/image" Target="../media/image24.emf"/><Relationship Id="rId2" Type="http://schemas.openxmlformats.org/officeDocument/2006/relationships/image" Target="../media/image10.emf"/><Relationship Id="rId16" Type="http://schemas.openxmlformats.org/officeDocument/2006/relationships/image" Target="../media/image23.emf"/><Relationship Id="rId20" Type="http://schemas.openxmlformats.org/officeDocument/2006/relationships/image" Target="../media/image27.emf"/><Relationship Id="rId1" Type="http://schemas.openxmlformats.org/officeDocument/2006/relationships/image" Target="../media/image9.emf"/><Relationship Id="rId6" Type="http://schemas.openxmlformats.org/officeDocument/2006/relationships/image" Target="../media/image13.emf"/><Relationship Id="rId11" Type="http://schemas.openxmlformats.org/officeDocument/2006/relationships/image" Target="../media/image18.emf"/><Relationship Id="rId5" Type="http://schemas.openxmlformats.org/officeDocument/2006/relationships/image" Target="../media/image12.emf"/><Relationship Id="rId15" Type="http://schemas.openxmlformats.org/officeDocument/2006/relationships/image" Target="../media/image22.emf"/><Relationship Id="rId10" Type="http://schemas.openxmlformats.org/officeDocument/2006/relationships/image" Target="../media/image17.emf"/><Relationship Id="rId19" Type="http://schemas.openxmlformats.org/officeDocument/2006/relationships/image" Target="../media/image26.emf"/><Relationship Id="rId4" Type="http://schemas.openxmlformats.org/officeDocument/2006/relationships/image" Target="../media/image1.emf"/><Relationship Id="rId9" Type="http://schemas.openxmlformats.org/officeDocument/2006/relationships/image" Target="../media/image16.emf"/><Relationship Id="rId14" Type="http://schemas.openxmlformats.org/officeDocument/2006/relationships/image" Target="../media/image2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479</cdr:x>
      <cdr:y>0.02439</cdr:y>
    </cdr:from>
    <cdr:to>
      <cdr:x>0.78678</cdr:x>
      <cdr:y>0.12303</cdr:y>
    </cdr:to>
    <cdr:sp macro="" textlink="">
      <cdr:nvSpPr>
        <cdr:cNvPr id="4" name="Szövegdoboz 14"/>
        <cdr:cNvSpPr txBox="1"/>
      </cdr:nvSpPr>
      <cdr:spPr>
        <a:xfrm xmlns:a="http://schemas.openxmlformats.org/drawingml/2006/main">
          <a:off x="2207201" y="68495"/>
          <a:ext cx="4608512" cy="276999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20000"/>
            <a:lumOff val="80000"/>
          </a:schemeClr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0" tIns="0" rIns="0" bIns="0" rtlCol="0">
          <a:spAutoFit/>
        </a:bodyPr>
        <a:lstStyle xmlns:a="http://schemas.openxmlformats.org/drawingml/2006/main">
          <a:defPPr>
            <a:defRPr lang="hu-HU"/>
          </a:defPPr>
          <a:lvl1pPr marL="0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177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353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530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706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5883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060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236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413" algn="l" defTabSz="914353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u-HU" sz="1800" dirty="0" smtClean="0">
              <a:solidFill>
                <a:prstClr val="black"/>
              </a:solidFill>
            </a:rPr>
            <a:t>Központi költségvetés lakástámogatási kiadásai*</a:t>
          </a:r>
          <a:endParaRPr lang="hu-HU" sz="1800" dirty="0">
            <a:solidFill>
              <a:prstClr val="black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8852</cdr:x>
      <cdr:y>0.02996</cdr:y>
    </cdr:from>
    <cdr:to>
      <cdr:x>0.97541</cdr:x>
      <cdr:y>0.22535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6048672" y="75513"/>
          <a:ext cx="2520280" cy="49244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8575">
          <a:solidFill>
            <a:srgbClr val="FF0000"/>
          </a:solidFill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hu-HU" sz="1600" dirty="0" smtClean="0">
              <a:latin typeface="Arial" panose="020B0604020202020204" pitchFamily="34" charset="0"/>
              <a:cs typeface="Arial" panose="020B0604020202020204" pitchFamily="34" charset="0"/>
            </a:rPr>
            <a:t>2x annyi, mint 2015 első negyedévében</a:t>
          </a:r>
          <a:endParaRPr lang="hu-HU" sz="16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3197</cdr:x>
      <cdr:y>0.22535</cdr:y>
    </cdr:from>
    <cdr:to>
      <cdr:x>0.95082</cdr:x>
      <cdr:y>0.45714</cdr:y>
    </cdr:to>
    <cdr:cxnSp macro="">
      <cdr:nvCxnSpPr>
        <cdr:cNvPr id="4" name="Egyenes összekötő nyíllal 3"/>
        <cdr:cNvCxnSpPr>
          <a:stCxn xmlns:a="http://schemas.openxmlformats.org/drawingml/2006/main" id="2" idx="2"/>
        </cdr:cNvCxnSpPr>
      </cdr:nvCxnSpPr>
      <cdr:spPr>
        <a:xfrm xmlns:a="http://schemas.openxmlformats.org/drawingml/2006/main">
          <a:off x="7308812" y="567956"/>
          <a:ext cx="1044116" cy="584172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rgbClr val="FF000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690D0F-9B09-4853-8A7E-BC2A58DA9384}" type="datetimeFigureOut">
              <a:rPr lang="hu-HU" smtClean="0"/>
              <a:pPr/>
              <a:t>2016.05.2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91F048-DD6C-4A62-BB3D-20694838303E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9045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3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0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6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3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0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36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3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91F048-DD6C-4A62-BB3D-20694838303E}" type="slidenum">
              <a:rPr lang="hu-HU" smtClean="0">
                <a:solidFill>
                  <a:prstClr val="black"/>
                </a:solidFill>
              </a:rPr>
              <a:pPr/>
              <a:t>5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96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.pn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997826" y="285262"/>
            <a:ext cx="1146175" cy="762000"/>
          </a:xfrm>
          <a:prstGeom prst="rect">
            <a:avLst/>
          </a:prstGeom>
          <a:ln w="25400">
            <a:round/>
          </a:ln>
        </p:spPr>
      </p:pic>
    </p:spTree>
    <p:extLst>
      <p:ext uri="{BB962C8B-B14F-4D97-AF65-F5344CB8AC3E}">
        <p14:creationId xmlns:p14="http://schemas.microsoft.com/office/powerpoint/2010/main" val="66362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  <a:prstGeom prst="rect">
            <a:avLst/>
          </a:prstGeom>
        </p:spPr>
        <p:txBody>
          <a:bodyPr lIns="64281" tIns="32140" rIns="64281" bIns="32140" anchor="b"/>
          <a:lstStyle>
            <a:lvl1pPr marL="0" indent="0">
              <a:buNone/>
              <a:defRPr sz="1700" b="1"/>
            </a:lvl1pPr>
            <a:lvl2pPr marL="321407" indent="0">
              <a:buNone/>
              <a:defRPr sz="1400" b="1"/>
            </a:lvl2pPr>
            <a:lvl3pPr marL="642816" indent="0">
              <a:buNone/>
              <a:defRPr sz="1300" b="1"/>
            </a:lvl3pPr>
            <a:lvl4pPr marL="964224" indent="0">
              <a:buNone/>
              <a:defRPr sz="1100" b="1"/>
            </a:lvl4pPr>
            <a:lvl5pPr marL="1285631" indent="0">
              <a:buNone/>
              <a:defRPr sz="1100" b="1"/>
            </a:lvl5pPr>
            <a:lvl6pPr marL="1607041" indent="0">
              <a:buNone/>
              <a:defRPr sz="1100" b="1"/>
            </a:lvl6pPr>
            <a:lvl7pPr marL="1928447" indent="0">
              <a:buNone/>
              <a:defRPr sz="1100" b="1"/>
            </a:lvl7pPr>
            <a:lvl8pPr marL="2249856" indent="0">
              <a:buNone/>
              <a:defRPr sz="1100" b="1"/>
            </a:lvl8pPr>
            <a:lvl9pPr marL="2571264" indent="0">
              <a:buNone/>
              <a:defRPr sz="11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  <a:prstGeom prst="rect">
            <a:avLst/>
          </a:prstGeom>
        </p:spPr>
        <p:txBody>
          <a:bodyPr lIns="64281" tIns="32140" rIns="64281" bIns="32140"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  <a:prstGeom prst="rect">
            <a:avLst/>
          </a:prstGeom>
        </p:spPr>
        <p:txBody>
          <a:bodyPr lIns="64281" tIns="32140" rIns="64281" bIns="32140" anchor="b"/>
          <a:lstStyle>
            <a:lvl1pPr marL="0" indent="0">
              <a:buNone/>
              <a:defRPr sz="1700" b="1"/>
            </a:lvl1pPr>
            <a:lvl2pPr marL="321407" indent="0">
              <a:buNone/>
              <a:defRPr sz="1400" b="1"/>
            </a:lvl2pPr>
            <a:lvl3pPr marL="642816" indent="0">
              <a:buNone/>
              <a:defRPr sz="1300" b="1"/>
            </a:lvl3pPr>
            <a:lvl4pPr marL="964224" indent="0">
              <a:buNone/>
              <a:defRPr sz="1100" b="1"/>
            </a:lvl4pPr>
            <a:lvl5pPr marL="1285631" indent="0">
              <a:buNone/>
              <a:defRPr sz="1100" b="1"/>
            </a:lvl5pPr>
            <a:lvl6pPr marL="1607041" indent="0">
              <a:buNone/>
              <a:defRPr sz="1100" b="1"/>
            </a:lvl6pPr>
            <a:lvl7pPr marL="1928447" indent="0">
              <a:buNone/>
              <a:defRPr sz="1100" b="1"/>
            </a:lvl7pPr>
            <a:lvl8pPr marL="2249856" indent="0">
              <a:buNone/>
              <a:defRPr sz="1100" b="1"/>
            </a:lvl8pPr>
            <a:lvl9pPr marL="2571264" indent="0">
              <a:buNone/>
              <a:defRPr sz="11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  <a:prstGeom prst="rect">
            <a:avLst/>
          </a:prstGeom>
        </p:spPr>
        <p:txBody>
          <a:bodyPr lIns="64281" tIns="32140" rIns="64281" bIns="32140"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0964055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6957896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198479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650" y="273476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224" y="273473"/>
            <a:ext cx="5111130" cy="5852294"/>
          </a:xfrm>
          <a:prstGeom prst="rect">
            <a:avLst/>
          </a:prstGeom>
        </p:spPr>
        <p:txBody>
          <a:bodyPr lIns="64281" tIns="32140" rIns="64281" bIns="32140"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650" y="1435448"/>
            <a:ext cx="3008189" cy="4690318"/>
          </a:xfrm>
          <a:prstGeom prst="rect">
            <a:avLst/>
          </a:prstGeom>
        </p:spPr>
        <p:txBody>
          <a:bodyPr lIns="64281" tIns="32140" rIns="64281" bIns="32140"/>
          <a:lstStyle>
            <a:lvl1pPr marL="0" indent="0">
              <a:buNone/>
              <a:defRPr sz="1000"/>
            </a:lvl1pPr>
            <a:lvl2pPr marL="321407" indent="0">
              <a:buNone/>
              <a:defRPr sz="800"/>
            </a:lvl2pPr>
            <a:lvl3pPr marL="642816" indent="0">
              <a:buNone/>
              <a:defRPr sz="700"/>
            </a:lvl3pPr>
            <a:lvl4pPr marL="964224" indent="0">
              <a:buNone/>
              <a:defRPr sz="600"/>
            </a:lvl4pPr>
            <a:lvl5pPr marL="1285631" indent="0">
              <a:buNone/>
              <a:defRPr sz="600"/>
            </a:lvl5pPr>
            <a:lvl6pPr marL="1607041" indent="0">
              <a:buNone/>
              <a:defRPr sz="600"/>
            </a:lvl6pPr>
            <a:lvl7pPr marL="1928447" indent="0">
              <a:buNone/>
              <a:defRPr sz="600"/>
            </a:lvl7pPr>
            <a:lvl8pPr marL="2249856" indent="0">
              <a:buNone/>
              <a:defRPr sz="600"/>
            </a:lvl8pPr>
            <a:lvl9pPr marL="2571264" indent="0">
              <a:buNone/>
              <a:defRPr sz="6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442442129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638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638" y="612800"/>
            <a:ext cx="5486177" cy="4114354"/>
          </a:xfrm>
          <a:prstGeom prst="rect">
            <a:avLst/>
          </a:prstGeom>
        </p:spPr>
        <p:txBody>
          <a:bodyPr lIns="64281" tIns="32140" rIns="64281" bIns="32140"/>
          <a:lstStyle>
            <a:lvl1pPr marL="0" indent="0">
              <a:buNone/>
              <a:defRPr sz="2200"/>
            </a:lvl1pPr>
            <a:lvl2pPr marL="321407" indent="0">
              <a:buNone/>
              <a:defRPr sz="2000"/>
            </a:lvl2pPr>
            <a:lvl3pPr marL="642816" indent="0">
              <a:buNone/>
              <a:defRPr sz="1700"/>
            </a:lvl3pPr>
            <a:lvl4pPr marL="964224" indent="0">
              <a:buNone/>
              <a:defRPr sz="1400"/>
            </a:lvl4pPr>
            <a:lvl5pPr marL="1285631" indent="0">
              <a:buNone/>
              <a:defRPr sz="1400"/>
            </a:lvl5pPr>
            <a:lvl6pPr marL="1607041" indent="0">
              <a:buNone/>
              <a:defRPr sz="1400"/>
            </a:lvl6pPr>
            <a:lvl7pPr marL="1928447" indent="0">
              <a:buNone/>
              <a:defRPr sz="1400"/>
            </a:lvl7pPr>
            <a:lvl8pPr marL="2249856" indent="0">
              <a:buNone/>
              <a:defRPr sz="1400"/>
            </a:lvl8pPr>
            <a:lvl9pPr marL="2571264" indent="0">
              <a:buNone/>
              <a:defRPr sz="1400"/>
            </a:lvl9pPr>
          </a:lstStyle>
          <a:p>
            <a:pPr lvl="0"/>
            <a:endParaRPr lang="hu-HU" noProof="0" dirty="0" smtClean="0">
              <a:sym typeface="Gill Sans" charset="0"/>
            </a:endParaRP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638" y="5367860"/>
            <a:ext cx="5486177" cy="804788"/>
          </a:xfrm>
          <a:prstGeom prst="rect">
            <a:avLst/>
          </a:prstGeom>
        </p:spPr>
        <p:txBody>
          <a:bodyPr lIns="64281" tIns="32140" rIns="64281" bIns="32140"/>
          <a:lstStyle>
            <a:lvl1pPr marL="0" indent="0">
              <a:buNone/>
              <a:defRPr sz="1000"/>
            </a:lvl1pPr>
            <a:lvl2pPr marL="321407" indent="0">
              <a:buNone/>
              <a:defRPr sz="800"/>
            </a:lvl2pPr>
            <a:lvl3pPr marL="642816" indent="0">
              <a:buNone/>
              <a:defRPr sz="700"/>
            </a:lvl3pPr>
            <a:lvl4pPr marL="964224" indent="0">
              <a:buNone/>
              <a:defRPr sz="600"/>
            </a:lvl4pPr>
            <a:lvl5pPr marL="1285631" indent="0">
              <a:buNone/>
              <a:defRPr sz="600"/>
            </a:lvl5pPr>
            <a:lvl6pPr marL="1607041" indent="0">
              <a:buNone/>
              <a:defRPr sz="600"/>
            </a:lvl6pPr>
            <a:lvl7pPr marL="1928447" indent="0">
              <a:buNone/>
              <a:defRPr sz="600"/>
            </a:lvl7pPr>
            <a:lvl8pPr marL="2249856" indent="0">
              <a:buNone/>
              <a:defRPr sz="600"/>
            </a:lvl8pPr>
            <a:lvl9pPr marL="2571264" indent="0">
              <a:buNone/>
              <a:defRPr sz="6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410428234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647" y="1600650"/>
            <a:ext cx="8228707" cy="4525119"/>
          </a:xfrm>
          <a:prstGeom prst="rect">
            <a:avLst/>
          </a:prstGeom>
        </p:spPr>
        <p:txBody>
          <a:bodyPr vert="eaVert" lIns="64281" tIns="32140" rIns="64281" bIns="3214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893496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735217" y="1600650"/>
            <a:ext cx="2149822" cy="4525119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285752" y="1600650"/>
            <a:ext cx="6342311" cy="4525119"/>
          </a:xfrm>
          <a:prstGeom prst="rect">
            <a:avLst/>
          </a:prstGeom>
        </p:spPr>
        <p:txBody>
          <a:bodyPr vert="eaVert" lIns="64281" tIns="32140" rIns="64281" bIns="3214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660915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.pn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997826" y="285262"/>
            <a:ext cx="1146175" cy="762000"/>
          </a:xfrm>
          <a:prstGeom prst="rect">
            <a:avLst/>
          </a:prstGeom>
          <a:ln w="25400">
            <a:round/>
          </a:ln>
        </p:spPr>
      </p:pic>
    </p:spTree>
    <p:extLst>
      <p:ext uri="{BB962C8B-B14F-4D97-AF65-F5344CB8AC3E}">
        <p14:creationId xmlns:p14="http://schemas.microsoft.com/office/powerpoint/2010/main" val="141135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smtClean="0"/>
              <a:t>Mintacím szerkesztése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6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34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.pn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997826" y="285262"/>
            <a:ext cx="1146175" cy="762000"/>
          </a:xfrm>
          <a:prstGeom prst="rect">
            <a:avLst/>
          </a:prstGeom>
          <a:ln w="25400">
            <a:round/>
          </a:ln>
        </p:spPr>
      </p:pic>
    </p:spTree>
    <p:extLst>
      <p:ext uri="{BB962C8B-B14F-4D97-AF65-F5344CB8AC3E}">
        <p14:creationId xmlns:p14="http://schemas.microsoft.com/office/powerpoint/2010/main" val="392292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smtClean="0"/>
              <a:t>Mintacím szerkesztése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6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83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.pn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997826" y="285262"/>
            <a:ext cx="1146175" cy="762000"/>
          </a:xfrm>
          <a:prstGeom prst="rect">
            <a:avLst/>
          </a:prstGeom>
          <a:ln w="25400">
            <a:round/>
          </a:ln>
        </p:spPr>
      </p:pic>
    </p:spTree>
    <p:extLst>
      <p:ext uri="{BB962C8B-B14F-4D97-AF65-F5344CB8AC3E}">
        <p14:creationId xmlns:p14="http://schemas.microsoft.com/office/powerpoint/2010/main" val="245254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smtClean="0"/>
              <a:t>Mintacím szerkesztése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6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53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260" y="188914"/>
            <a:ext cx="8109438" cy="2462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43763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D5879-B5AC-48F9-A67B-0FAAEFADE3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4602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537CAE-49D8-4F85-B76E-D83AD1C95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711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194" y="2129966"/>
            <a:ext cx="7773614" cy="298327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2032" y="3885770"/>
            <a:ext cx="6399989" cy="251222"/>
          </a:xfrm>
        </p:spPr>
        <p:txBody>
          <a:bodyPr/>
          <a:lstStyle>
            <a:lvl1pPr marL="0" indent="0" algn="ctr">
              <a:buNone/>
              <a:defRPr/>
            </a:lvl1pPr>
            <a:lvl2pPr marL="464357" indent="0" algn="ctr">
              <a:buNone/>
              <a:defRPr/>
            </a:lvl2pPr>
            <a:lvl3pPr marL="928768" indent="0" algn="ctr">
              <a:buNone/>
              <a:defRPr/>
            </a:lvl3pPr>
            <a:lvl4pPr marL="1393157" indent="0" algn="ctr">
              <a:buNone/>
              <a:defRPr/>
            </a:lvl4pPr>
            <a:lvl5pPr marL="1857539" indent="0" algn="ctr">
              <a:buNone/>
              <a:defRPr/>
            </a:lvl5pPr>
            <a:lvl6pPr marL="2321925" indent="0" algn="ctr">
              <a:buNone/>
              <a:defRPr/>
            </a:lvl6pPr>
            <a:lvl7pPr marL="2786309" indent="0" algn="ctr">
              <a:buNone/>
              <a:defRPr/>
            </a:lvl7pPr>
            <a:lvl8pPr marL="3250695" indent="0" algn="ctr">
              <a:buNone/>
              <a:defRPr/>
            </a:lvl8pPr>
            <a:lvl9pPr marL="3715081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460E0-5638-4927-8839-67ECF706DE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878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yéni elrendez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1AF219-3697-4614-9E2D-3FC06AD157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2374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824" y="3886650"/>
            <a:ext cx="6400354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407" indent="0" algn="ctr">
              <a:buNone/>
              <a:defRPr/>
            </a:lvl2pPr>
            <a:lvl3pPr marL="642816" indent="0" algn="ctr">
              <a:buNone/>
              <a:defRPr/>
            </a:lvl3pPr>
            <a:lvl4pPr marL="964224" indent="0" algn="ctr">
              <a:buNone/>
              <a:defRPr/>
            </a:lvl4pPr>
            <a:lvl5pPr marL="1285631" indent="0" algn="ctr">
              <a:buNone/>
              <a:defRPr/>
            </a:lvl5pPr>
            <a:lvl6pPr marL="1607041" indent="0" algn="ctr">
              <a:buNone/>
              <a:defRPr/>
            </a:lvl6pPr>
            <a:lvl7pPr marL="1928447" indent="0" algn="ctr">
              <a:buNone/>
              <a:defRPr/>
            </a:lvl7pPr>
            <a:lvl8pPr marL="2249856" indent="0" algn="ctr">
              <a:buNone/>
              <a:defRPr/>
            </a:lvl8pPr>
            <a:lvl9pPr marL="2571264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61097-66FD-4E7E-9A51-06B8B388B75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425240146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0DE47-58A5-4BA3-B2AF-4E396963D15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415135816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189" y="4406802"/>
            <a:ext cx="7772176" cy="1361777"/>
          </a:xfrm>
        </p:spPr>
        <p:txBody>
          <a:bodyPr/>
          <a:lstStyle>
            <a:lvl1pPr algn="l">
              <a:defRPr sz="28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407" indent="0">
              <a:buNone/>
              <a:defRPr sz="1300"/>
            </a:lvl2pPr>
            <a:lvl3pPr marL="642816" indent="0">
              <a:buNone/>
              <a:defRPr sz="1100"/>
            </a:lvl3pPr>
            <a:lvl4pPr marL="964224" indent="0">
              <a:buNone/>
              <a:defRPr sz="1000"/>
            </a:lvl4pPr>
            <a:lvl5pPr marL="1285631" indent="0">
              <a:buNone/>
              <a:defRPr sz="1000"/>
            </a:lvl5pPr>
            <a:lvl6pPr marL="1607041" indent="0">
              <a:buNone/>
              <a:defRPr sz="1000"/>
            </a:lvl6pPr>
            <a:lvl7pPr marL="1928447" indent="0">
              <a:buNone/>
              <a:defRPr sz="1000"/>
            </a:lvl7pPr>
            <a:lvl8pPr marL="2249856" indent="0">
              <a:buNone/>
              <a:defRPr sz="1000"/>
            </a:lvl8pPr>
            <a:lvl9pPr marL="2571264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91D64B-6596-41F8-8F2D-262B6690412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38144962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.pn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997826" y="285262"/>
            <a:ext cx="1146175" cy="762000"/>
          </a:xfrm>
          <a:prstGeom prst="rect">
            <a:avLst/>
          </a:prstGeom>
          <a:ln w="25400">
            <a:round/>
          </a:ln>
        </p:spPr>
      </p:pic>
    </p:spTree>
    <p:extLst>
      <p:ext uri="{BB962C8B-B14F-4D97-AF65-F5344CB8AC3E}">
        <p14:creationId xmlns:p14="http://schemas.microsoft.com/office/powerpoint/2010/main" val="62988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01836" y="1902023"/>
            <a:ext cx="3214688" cy="371475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3723679" y="1902023"/>
            <a:ext cx="3214688" cy="371475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C7AF00-5ED6-4CA2-87E2-FE088B8CCFA5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376076072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07" indent="0">
              <a:buNone/>
              <a:defRPr sz="1400" b="1"/>
            </a:lvl2pPr>
            <a:lvl3pPr marL="642816" indent="0">
              <a:buNone/>
              <a:defRPr sz="1300" b="1"/>
            </a:lvl3pPr>
            <a:lvl4pPr marL="964224" indent="0">
              <a:buNone/>
              <a:defRPr sz="1100" b="1"/>
            </a:lvl4pPr>
            <a:lvl5pPr marL="1285631" indent="0">
              <a:buNone/>
              <a:defRPr sz="1100" b="1"/>
            </a:lvl5pPr>
            <a:lvl6pPr marL="1607041" indent="0">
              <a:buNone/>
              <a:defRPr sz="1100" b="1"/>
            </a:lvl6pPr>
            <a:lvl7pPr marL="1928447" indent="0">
              <a:buNone/>
              <a:defRPr sz="1100" b="1"/>
            </a:lvl7pPr>
            <a:lvl8pPr marL="2249856" indent="0">
              <a:buNone/>
              <a:defRPr sz="1100" b="1"/>
            </a:lvl8pPr>
            <a:lvl9pPr marL="2571264" indent="0">
              <a:buNone/>
              <a:defRPr sz="11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07" indent="0">
              <a:buNone/>
              <a:defRPr sz="1400" b="1"/>
            </a:lvl2pPr>
            <a:lvl3pPr marL="642816" indent="0">
              <a:buNone/>
              <a:defRPr sz="1300" b="1"/>
            </a:lvl3pPr>
            <a:lvl4pPr marL="964224" indent="0">
              <a:buNone/>
              <a:defRPr sz="1100" b="1"/>
            </a:lvl4pPr>
            <a:lvl5pPr marL="1285631" indent="0">
              <a:buNone/>
              <a:defRPr sz="1100" b="1"/>
            </a:lvl5pPr>
            <a:lvl6pPr marL="1607041" indent="0">
              <a:buNone/>
              <a:defRPr sz="1100" b="1"/>
            </a:lvl6pPr>
            <a:lvl7pPr marL="1928447" indent="0">
              <a:buNone/>
              <a:defRPr sz="1100" b="1"/>
            </a:lvl7pPr>
            <a:lvl8pPr marL="2249856" indent="0">
              <a:buNone/>
              <a:defRPr sz="1100" b="1"/>
            </a:lvl8pPr>
            <a:lvl9pPr marL="2571264" indent="0">
              <a:buNone/>
              <a:defRPr sz="11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DACC35-220E-492E-AD4A-46BA844E4BA5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361612426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9F8319-36C4-460C-AACD-7941FFB609DD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2921214573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6B6212-BB5F-48E0-9E98-4537F6310F9D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301395331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650" y="273476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224" y="273473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650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07" indent="0">
              <a:buNone/>
              <a:defRPr sz="800"/>
            </a:lvl2pPr>
            <a:lvl3pPr marL="642816" indent="0">
              <a:buNone/>
              <a:defRPr sz="700"/>
            </a:lvl3pPr>
            <a:lvl4pPr marL="964224" indent="0">
              <a:buNone/>
              <a:defRPr sz="600"/>
            </a:lvl4pPr>
            <a:lvl5pPr marL="1285631" indent="0">
              <a:buNone/>
              <a:defRPr sz="600"/>
            </a:lvl5pPr>
            <a:lvl6pPr marL="1607041" indent="0">
              <a:buNone/>
              <a:defRPr sz="600"/>
            </a:lvl6pPr>
            <a:lvl7pPr marL="1928447" indent="0">
              <a:buNone/>
              <a:defRPr sz="600"/>
            </a:lvl7pPr>
            <a:lvl8pPr marL="2249856" indent="0">
              <a:buNone/>
              <a:defRPr sz="600"/>
            </a:lvl8pPr>
            <a:lvl9pPr marL="2571264" indent="0">
              <a:buNone/>
              <a:defRPr sz="6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C992A0-136E-49EF-A9E6-D4AB4115C316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133677407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638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638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07" indent="0">
              <a:buNone/>
              <a:defRPr sz="2000"/>
            </a:lvl2pPr>
            <a:lvl3pPr marL="642816" indent="0">
              <a:buNone/>
              <a:defRPr sz="1700"/>
            </a:lvl3pPr>
            <a:lvl4pPr marL="964224" indent="0">
              <a:buNone/>
              <a:defRPr sz="1400"/>
            </a:lvl4pPr>
            <a:lvl5pPr marL="1285631" indent="0">
              <a:buNone/>
              <a:defRPr sz="1400"/>
            </a:lvl5pPr>
            <a:lvl6pPr marL="1607041" indent="0">
              <a:buNone/>
              <a:defRPr sz="1400"/>
            </a:lvl6pPr>
            <a:lvl7pPr marL="1928447" indent="0">
              <a:buNone/>
              <a:defRPr sz="1400"/>
            </a:lvl7pPr>
            <a:lvl8pPr marL="2249856" indent="0">
              <a:buNone/>
              <a:defRPr sz="1400"/>
            </a:lvl8pPr>
            <a:lvl9pPr marL="2571264" indent="0">
              <a:buNone/>
              <a:defRPr sz="1400"/>
            </a:lvl9pPr>
          </a:lstStyle>
          <a:p>
            <a:pPr lvl="0"/>
            <a:endParaRPr lang="hu-HU" noProof="0" dirty="0" smtClean="0">
              <a:sym typeface="DIN Next W1G Light" charset="0"/>
            </a:endParaRP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638" y="5367860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07" indent="0">
              <a:buNone/>
              <a:defRPr sz="800"/>
            </a:lvl2pPr>
            <a:lvl3pPr marL="642816" indent="0">
              <a:buNone/>
              <a:defRPr sz="700"/>
            </a:lvl3pPr>
            <a:lvl4pPr marL="964224" indent="0">
              <a:buNone/>
              <a:defRPr sz="600"/>
            </a:lvl4pPr>
            <a:lvl5pPr marL="1285631" indent="0">
              <a:buNone/>
              <a:defRPr sz="600"/>
            </a:lvl5pPr>
            <a:lvl6pPr marL="1607041" indent="0">
              <a:buNone/>
              <a:defRPr sz="600"/>
            </a:lvl6pPr>
            <a:lvl7pPr marL="1928447" indent="0">
              <a:buNone/>
              <a:defRPr sz="600"/>
            </a:lvl7pPr>
            <a:lvl8pPr marL="2249856" indent="0">
              <a:buNone/>
              <a:defRPr sz="600"/>
            </a:lvl8pPr>
            <a:lvl9pPr marL="2571264" indent="0">
              <a:buNone/>
              <a:defRPr sz="6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AF194F-64AC-40A6-9AFF-03544A0C1D95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1539363635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64AD00-A017-4664-AE3D-266CCD68D92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177910297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5304234" y="517922"/>
            <a:ext cx="1634133" cy="5098852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01836" y="517922"/>
            <a:ext cx="4795242" cy="5098852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CD501-0305-4864-BDE4-B8F29CDE0D3A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191872448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260" y="188915"/>
            <a:ext cx="8109438" cy="2983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99667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824" y="3886650"/>
            <a:ext cx="6400354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407" indent="0" algn="ctr">
              <a:buNone/>
              <a:defRPr/>
            </a:lvl2pPr>
            <a:lvl3pPr marL="642816" indent="0" algn="ctr">
              <a:buNone/>
              <a:defRPr/>
            </a:lvl3pPr>
            <a:lvl4pPr marL="964224" indent="0" algn="ctr">
              <a:buNone/>
              <a:defRPr/>
            </a:lvl4pPr>
            <a:lvl5pPr marL="1285631" indent="0" algn="ctr">
              <a:buNone/>
              <a:defRPr/>
            </a:lvl5pPr>
            <a:lvl6pPr marL="1607041" indent="0" algn="ctr">
              <a:buNone/>
              <a:defRPr/>
            </a:lvl6pPr>
            <a:lvl7pPr marL="1928447" indent="0" algn="ctr">
              <a:buNone/>
              <a:defRPr/>
            </a:lvl7pPr>
            <a:lvl8pPr marL="2249856" indent="0" algn="ctr">
              <a:buNone/>
              <a:defRPr/>
            </a:lvl8pPr>
            <a:lvl9pPr marL="2571264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61097-66FD-4E7E-9A51-06B8B388B75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412097398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.pn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997826" y="285262"/>
            <a:ext cx="1146175" cy="762000"/>
          </a:xfrm>
          <a:prstGeom prst="rect">
            <a:avLst/>
          </a:prstGeom>
          <a:ln w="25400">
            <a:round/>
          </a:ln>
        </p:spPr>
      </p:pic>
    </p:spTree>
    <p:extLst>
      <p:ext uri="{BB962C8B-B14F-4D97-AF65-F5344CB8AC3E}">
        <p14:creationId xmlns:p14="http://schemas.microsoft.com/office/powerpoint/2010/main" val="330188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0DE47-58A5-4BA3-B2AF-4E396963D15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241274720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189" y="4406802"/>
            <a:ext cx="7772176" cy="1361777"/>
          </a:xfrm>
        </p:spPr>
        <p:txBody>
          <a:bodyPr/>
          <a:lstStyle>
            <a:lvl1pPr algn="l">
              <a:defRPr sz="28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407" indent="0">
              <a:buNone/>
              <a:defRPr sz="1300"/>
            </a:lvl2pPr>
            <a:lvl3pPr marL="642816" indent="0">
              <a:buNone/>
              <a:defRPr sz="1100"/>
            </a:lvl3pPr>
            <a:lvl4pPr marL="964224" indent="0">
              <a:buNone/>
              <a:defRPr sz="1000"/>
            </a:lvl4pPr>
            <a:lvl5pPr marL="1285631" indent="0">
              <a:buNone/>
              <a:defRPr sz="1000"/>
            </a:lvl5pPr>
            <a:lvl6pPr marL="1607041" indent="0">
              <a:buNone/>
              <a:defRPr sz="1000"/>
            </a:lvl6pPr>
            <a:lvl7pPr marL="1928447" indent="0">
              <a:buNone/>
              <a:defRPr sz="1000"/>
            </a:lvl7pPr>
            <a:lvl8pPr marL="2249856" indent="0">
              <a:buNone/>
              <a:defRPr sz="1000"/>
            </a:lvl8pPr>
            <a:lvl9pPr marL="2571264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91D64B-6596-41F8-8F2D-262B6690412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164315979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01836" y="1902023"/>
            <a:ext cx="3214688" cy="371475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3723679" y="1902023"/>
            <a:ext cx="3214688" cy="371475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C7AF00-5ED6-4CA2-87E2-FE088B8CCFA5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2812399584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07" indent="0">
              <a:buNone/>
              <a:defRPr sz="1400" b="1"/>
            </a:lvl2pPr>
            <a:lvl3pPr marL="642816" indent="0">
              <a:buNone/>
              <a:defRPr sz="1300" b="1"/>
            </a:lvl3pPr>
            <a:lvl4pPr marL="964224" indent="0">
              <a:buNone/>
              <a:defRPr sz="1100" b="1"/>
            </a:lvl4pPr>
            <a:lvl5pPr marL="1285631" indent="0">
              <a:buNone/>
              <a:defRPr sz="1100" b="1"/>
            </a:lvl5pPr>
            <a:lvl6pPr marL="1607041" indent="0">
              <a:buNone/>
              <a:defRPr sz="1100" b="1"/>
            </a:lvl6pPr>
            <a:lvl7pPr marL="1928447" indent="0">
              <a:buNone/>
              <a:defRPr sz="1100" b="1"/>
            </a:lvl7pPr>
            <a:lvl8pPr marL="2249856" indent="0">
              <a:buNone/>
              <a:defRPr sz="1100" b="1"/>
            </a:lvl8pPr>
            <a:lvl9pPr marL="2571264" indent="0">
              <a:buNone/>
              <a:defRPr sz="11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07" indent="0">
              <a:buNone/>
              <a:defRPr sz="1400" b="1"/>
            </a:lvl2pPr>
            <a:lvl3pPr marL="642816" indent="0">
              <a:buNone/>
              <a:defRPr sz="1300" b="1"/>
            </a:lvl3pPr>
            <a:lvl4pPr marL="964224" indent="0">
              <a:buNone/>
              <a:defRPr sz="1100" b="1"/>
            </a:lvl4pPr>
            <a:lvl5pPr marL="1285631" indent="0">
              <a:buNone/>
              <a:defRPr sz="1100" b="1"/>
            </a:lvl5pPr>
            <a:lvl6pPr marL="1607041" indent="0">
              <a:buNone/>
              <a:defRPr sz="1100" b="1"/>
            </a:lvl6pPr>
            <a:lvl7pPr marL="1928447" indent="0">
              <a:buNone/>
              <a:defRPr sz="1100" b="1"/>
            </a:lvl7pPr>
            <a:lvl8pPr marL="2249856" indent="0">
              <a:buNone/>
              <a:defRPr sz="1100" b="1"/>
            </a:lvl8pPr>
            <a:lvl9pPr marL="2571264" indent="0">
              <a:buNone/>
              <a:defRPr sz="11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DACC35-220E-492E-AD4A-46BA844E4BA5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252382436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9F8319-36C4-460C-AACD-7941FFB609DD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76466019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6B6212-BB5F-48E0-9E98-4537F6310F9D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286080750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650" y="273476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224" y="273473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650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07" indent="0">
              <a:buNone/>
              <a:defRPr sz="800"/>
            </a:lvl2pPr>
            <a:lvl3pPr marL="642816" indent="0">
              <a:buNone/>
              <a:defRPr sz="700"/>
            </a:lvl3pPr>
            <a:lvl4pPr marL="964224" indent="0">
              <a:buNone/>
              <a:defRPr sz="600"/>
            </a:lvl4pPr>
            <a:lvl5pPr marL="1285631" indent="0">
              <a:buNone/>
              <a:defRPr sz="600"/>
            </a:lvl5pPr>
            <a:lvl6pPr marL="1607041" indent="0">
              <a:buNone/>
              <a:defRPr sz="600"/>
            </a:lvl6pPr>
            <a:lvl7pPr marL="1928447" indent="0">
              <a:buNone/>
              <a:defRPr sz="600"/>
            </a:lvl7pPr>
            <a:lvl8pPr marL="2249856" indent="0">
              <a:buNone/>
              <a:defRPr sz="600"/>
            </a:lvl8pPr>
            <a:lvl9pPr marL="2571264" indent="0">
              <a:buNone/>
              <a:defRPr sz="6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C992A0-136E-49EF-A9E6-D4AB4115C316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297096480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638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638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07" indent="0">
              <a:buNone/>
              <a:defRPr sz="2000"/>
            </a:lvl2pPr>
            <a:lvl3pPr marL="642816" indent="0">
              <a:buNone/>
              <a:defRPr sz="1700"/>
            </a:lvl3pPr>
            <a:lvl4pPr marL="964224" indent="0">
              <a:buNone/>
              <a:defRPr sz="1400"/>
            </a:lvl4pPr>
            <a:lvl5pPr marL="1285631" indent="0">
              <a:buNone/>
              <a:defRPr sz="1400"/>
            </a:lvl5pPr>
            <a:lvl6pPr marL="1607041" indent="0">
              <a:buNone/>
              <a:defRPr sz="1400"/>
            </a:lvl6pPr>
            <a:lvl7pPr marL="1928447" indent="0">
              <a:buNone/>
              <a:defRPr sz="1400"/>
            </a:lvl7pPr>
            <a:lvl8pPr marL="2249856" indent="0">
              <a:buNone/>
              <a:defRPr sz="1400"/>
            </a:lvl8pPr>
            <a:lvl9pPr marL="2571264" indent="0">
              <a:buNone/>
              <a:defRPr sz="1400"/>
            </a:lvl9pPr>
          </a:lstStyle>
          <a:p>
            <a:pPr lvl="0"/>
            <a:endParaRPr lang="hu-HU" noProof="0" dirty="0" smtClean="0">
              <a:sym typeface="DIN Next W1G Light" charset="0"/>
            </a:endParaRP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638" y="5367860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07" indent="0">
              <a:buNone/>
              <a:defRPr sz="800"/>
            </a:lvl2pPr>
            <a:lvl3pPr marL="642816" indent="0">
              <a:buNone/>
              <a:defRPr sz="700"/>
            </a:lvl3pPr>
            <a:lvl4pPr marL="964224" indent="0">
              <a:buNone/>
              <a:defRPr sz="600"/>
            </a:lvl4pPr>
            <a:lvl5pPr marL="1285631" indent="0">
              <a:buNone/>
              <a:defRPr sz="600"/>
            </a:lvl5pPr>
            <a:lvl6pPr marL="1607041" indent="0">
              <a:buNone/>
              <a:defRPr sz="600"/>
            </a:lvl6pPr>
            <a:lvl7pPr marL="1928447" indent="0">
              <a:buNone/>
              <a:defRPr sz="600"/>
            </a:lvl7pPr>
            <a:lvl8pPr marL="2249856" indent="0">
              <a:buNone/>
              <a:defRPr sz="600"/>
            </a:lvl8pPr>
            <a:lvl9pPr marL="2571264" indent="0">
              <a:buNone/>
              <a:defRPr sz="6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AF194F-64AC-40A6-9AFF-03544A0C1D95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195797116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64AD00-A017-4664-AE3D-266CCD68D923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3924044929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5304234" y="517922"/>
            <a:ext cx="1634133" cy="5098852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01836" y="517922"/>
            <a:ext cx="4795242" cy="5098852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CD501-0305-4864-BDE4-B8F29CDE0D3A}" type="slidenum">
              <a:rPr lang="en-US" altLang="hu-HU"/>
              <a:pPr>
                <a:defRPr/>
              </a:pPr>
              <a:t>‹#›</a:t>
            </a:fld>
            <a:endParaRPr lang="en-US" altLang="hu-HU" dirty="0"/>
          </a:p>
        </p:txBody>
      </p:sp>
    </p:spTree>
    <p:extLst>
      <p:ext uri="{BB962C8B-B14F-4D97-AF65-F5344CB8AC3E}">
        <p14:creationId xmlns:p14="http://schemas.microsoft.com/office/powerpoint/2010/main" val="88114796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smtClean="0"/>
              <a:t>Mintacím szerkesztése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6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72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260" y="188915"/>
            <a:ext cx="8109438" cy="2983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22116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824" y="3886650"/>
            <a:ext cx="6400354" cy="1752451"/>
          </a:xfrm>
          <a:prstGeom prst="rect">
            <a:avLst/>
          </a:prstGeom>
        </p:spPr>
        <p:txBody>
          <a:bodyPr lIns="64281" tIns="32140" rIns="64281" bIns="32140"/>
          <a:lstStyle>
            <a:lvl1pPr marL="0" indent="0" algn="ctr">
              <a:buNone/>
              <a:defRPr/>
            </a:lvl1pPr>
            <a:lvl2pPr marL="321407" indent="0" algn="ctr">
              <a:buNone/>
              <a:defRPr/>
            </a:lvl2pPr>
            <a:lvl3pPr marL="642816" indent="0" algn="ctr">
              <a:buNone/>
              <a:defRPr/>
            </a:lvl3pPr>
            <a:lvl4pPr marL="964224" indent="0" algn="ctr">
              <a:buNone/>
              <a:defRPr/>
            </a:lvl4pPr>
            <a:lvl5pPr marL="1285631" indent="0" algn="ctr">
              <a:buNone/>
              <a:defRPr/>
            </a:lvl5pPr>
            <a:lvl6pPr marL="1607041" indent="0" algn="ctr">
              <a:buNone/>
              <a:defRPr/>
            </a:lvl6pPr>
            <a:lvl7pPr marL="1928447" indent="0" algn="ctr">
              <a:buNone/>
              <a:defRPr/>
            </a:lvl7pPr>
            <a:lvl8pPr marL="2249856" indent="0" algn="ctr">
              <a:buNone/>
              <a:defRPr/>
            </a:lvl8pPr>
            <a:lvl9pPr marL="2571264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4946121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647" y="1600650"/>
            <a:ext cx="8228707" cy="4525119"/>
          </a:xfrm>
          <a:prstGeom prst="rect">
            <a:avLst/>
          </a:prstGeom>
        </p:spPr>
        <p:txBody>
          <a:bodyPr lIns="64281" tIns="32140" rIns="64281" bIns="3214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0584313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189" y="4406802"/>
            <a:ext cx="7772176" cy="1361777"/>
          </a:xfrm>
        </p:spPr>
        <p:txBody>
          <a:bodyPr/>
          <a:lstStyle>
            <a:lvl1pPr algn="l">
              <a:defRPr sz="28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  <a:prstGeom prst="rect">
            <a:avLst/>
          </a:prstGeom>
        </p:spPr>
        <p:txBody>
          <a:bodyPr lIns="64281" tIns="32140" rIns="64281" bIns="32140" anchor="b"/>
          <a:lstStyle>
            <a:lvl1pPr marL="0" indent="0">
              <a:buNone/>
              <a:defRPr sz="1400"/>
            </a:lvl1pPr>
            <a:lvl2pPr marL="321407" indent="0">
              <a:buNone/>
              <a:defRPr sz="1300"/>
            </a:lvl2pPr>
            <a:lvl3pPr marL="642816" indent="0">
              <a:buNone/>
              <a:defRPr sz="1100"/>
            </a:lvl3pPr>
            <a:lvl4pPr marL="964224" indent="0">
              <a:buNone/>
              <a:defRPr sz="1000"/>
            </a:lvl4pPr>
            <a:lvl5pPr marL="1285631" indent="0">
              <a:buNone/>
              <a:defRPr sz="1000"/>
            </a:lvl5pPr>
            <a:lvl6pPr marL="1607041" indent="0">
              <a:buNone/>
              <a:defRPr sz="1000"/>
            </a:lvl6pPr>
            <a:lvl7pPr marL="1928447" indent="0">
              <a:buNone/>
              <a:defRPr sz="1000"/>
            </a:lvl7pPr>
            <a:lvl8pPr marL="2249856" indent="0">
              <a:buNone/>
              <a:defRPr sz="1000"/>
            </a:lvl8pPr>
            <a:lvl9pPr marL="2571264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73036983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648" y="1600650"/>
            <a:ext cx="4060775" cy="4525119"/>
          </a:xfrm>
          <a:prstGeom prst="rect">
            <a:avLst/>
          </a:prstGeom>
        </p:spPr>
        <p:txBody>
          <a:bodyPr lIns="64281" tIns="32140" rIns="64281" bIns="32140"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25579" y="1600650"/>
            <a:ext cx="4060775" cy="4525119"/>
          </a:xfrm>
          <a:prstGeom prst="rect">
            <a:avLst/>
          </a:prstGeom>
        </p:spPr>
        <p:txBody>
          <a:bodyPr lIns="64281" tIns="32140" rIns="64281" bIns="32140"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1800756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5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vmlDrawing" Target="../drawings/vmlDrawing4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vmlDrawing" Target="../drawings/vmlDrawing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um 12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634830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49" y="1554954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hu-HU" dirty="0" smtClean="0"/>
              <a:t>Beíráshoz kattintson</a:t>
            </a:r>
            <a:endParaRPr lang="de-DE" dirty="0" smtClean="0"/>
          </a:p>
          <a:p>
            <a:pPr lvl="1"/>
            <a:r>
              <a:rPr lang="hu-HU" dirty="0" smtClean="0"/>
              <a:t>Második szint</a:t>
            </a:r>
            <a:endParaRPr lang="de-DE" dirty="0" smtClean="0"/>
          </a:p>
          <a:p>
            <a:pPr lvl="2"/>
            <a:r>
              <a:rPr lang="hu-HU" dirty="0" smtClean="0"/>
              <a:t>Harmadik szint</a:t>
            </a:r>
            <a:endParaRPr lang="de-DE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dirty="0" smtClean="0"/>
              <a:t>Cím beírásához kattintson</a:t>
            </a:r>
            <a:endParaRPr lang="de-DE" dirty="0"/>
          </a:p>
        </p:txBody>
      </p:sp>
      <p:pic>
        <p:nvPicPr>
          <p:cNvPr id="9" name="image.png"/>
          <p:cNvPicPr/>
          <p:nvPr/>
        </p:nvPicPr>
        <p:blipFill>
          <a:blip r:embed="rId11" cstate="print">
            <a:extLst/>
          </a:blip>
          <a:stretch>
            <a:fillRect/>
          </a:stretch>
        </p:blipFill>
        <p:spPr>
          <a:xfrm>
            <a:off x="8331158" y="161215"/>
            <a:ext cx="812842" cy="539778"/>
          </a:xfrm>
          <a:prstGeom prst="rect">
            <a:avLst/>
          </a:prstGeom>
          <a:ln w="25400">
            <a:round/>
          </a:ln>
        </p:spPr>
      </p:pic>
      <p:sp>
        <p:nvSpPr>
          <p:cNvPr id="12" name="Dia számának helye 11"/>
          <p:cNvSpPr>
            <a:spLocks noGrp="1"/>
          </p:cNvSpPr>
          <p:nvPr>
            <p:ph type="sldNum" sz="quarter" idx="4"/>
          </p:nvPr>
        </p:nvSpPr>
        <p:spPr>
          <a:xfrm>
            <a:off x="8615544" y="6390055"/>
            <a:ext cx="410796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857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60" r:id="rId3"/>
    <p:sldLayoutId id="2147483679" r:id="rId4"/>
    <p:sldLayoutId id="2147483680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53" rtl="0" eaLnBrk="1" latinLnBrk="0" hangingPunct="1">
        <a:spcBef>
          <a:spcPct val="0"/>
        </a:spcBef>
        <a:buNone/>
        <a:defRPr sz="1600" b="1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6204" indent="-176204" algn="l" defTabSz="914353" rtl="0" eaLnBrk="1" latinLnBrk="0" hangingPunct="1">
        <a:spcBef>
          <a:spcPct val="20000"/>
        </a:spcBef>
        <a:buFont typeface="Wingdings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344" indent="-184140" algn="l" defTabSz="914353" rtl="0" eaLnBrk="1" latinLnBrk="0" hangingPunct="1">
        <a:spcBef>
          <a:spcPct val="20000"/>
        </a:spcBef>
        <a:buFont typeface="Symbol" pitchFamily="18" charset="2"/>
        <a:buChar char="-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48" indent="-176204" algn="l" defTabSz="914353" rtl="0" eaLnBrk="1" latinLnBrk="0" hangingPunct="1">
        <a:spcBef>
          <a:spcPct val="20000"/>
        </a:spcBef>
        <a:buFont typeface="Wingdings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688" indent="-184140" algn="l" defTabSz="914353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6892" indent="-176204" algn="l" defTabSz="914353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250281"/>
            <a:ext cx="9170789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5751" y="2571750"/>
            <a:ext cx="8599289" cy="3384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>
                <a:sym typeface="DIN Next W1G Light" charset="0"/>
              </a:rPr>
              <a:t>Click to edit Master title style</a:t>
            </a:r>
          </a:p>
        </p:txBody>
      </p:sp>
      <p:pic>
        <p:nvPicPr>
          <p:cNvPr id="1028" name="Picture 3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329" y="178595"/>
            <a:ext cx="805904" cy="53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2143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+mj-lt"/>
          <a:ea typeface="+mj-ea"/>
          <a:cs typeface="+mj-cs"/>
          <a:sym typeface="DIN Next W1G Light" charset="0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5pPr>
      <a:lvl6pPr marL="321407" algn="l" rtl="0" fontAlgn="base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6pPr>
      <a:lvl7pPr marL="642816" algn="l" rtl="0" fontAlgn="base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7pPr>
      <a:lvl8pPr marL="964224" algn="l" rtl="0" fontAlgn="base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8pPr>
      <a:lvl9pPr marL="1285631" algn="l" rtl="0" fontAlgn="base">
        <a:lnSpc>
          <a:spcPct val="80000"/>
        </a:lnSpc>
        <a:spcBef>
          <a:spcPct val="0"/>
        </a:spcBef>
        <a:spcAft>
          <a:spcPct val="0"/>
        </a:spcAft>
        <a:defRPr sz="4500">
          <a:solidFill>
            <a:srgbClr val="FFFFF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9pPr>
    </p:titleStyle>
    <p:bodyStyle>
      <a:lvl1pPr marL="27900" algn="ctr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27900" algn="ctr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27900" algn="ctr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27900" algn="ctr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7900" algn="ctr" rtl="0" eaLnBrk="0" fontAlgn="base" hangingPunct="0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349308" algn="ctr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670716" algn="ctr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992124" algn="ctr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313531" algn="ctr" rtl="0" fontAlgn="base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hu-HU"/>
      </a:defPPr>
      <a:lvl1pPr marL="0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07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16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24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31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041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447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856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264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um 1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2061816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49" y="1554954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hu-HU" dirty="0" smtClean="0"/>
              <a:t>Beíráshoz kattintson</a:t>
            </a:r>
            <a:endParaRPr lang="de-DE" dirty="0" smtClean="0"/>
          </a:p>
          <a:p>
            <a:pPr lvl="1"/>
            <a:r>
              <a:rPr lang="hu-HU" dirty="0" smtClean="0"/>
              <a:t>Második szint</a:t>
            </a:r>
            <a:endParaRPr lang="de-DE" dirty="0" smtClean="0"/>
          </a:p>
          <a:p>
            <a:pPr lvl="2"/>
            <a:r>
              <a:rPr lang="hu-HU" dirty="0" smtClean="0"/>
              <a:t>Harmadik szint</a:t>
            </a:r>
            <a:endParaRPr lang="de-DE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dirty="0" smtClean="0"/>
              <a:t>Cím beírásához kattintson</a:t>
            </a:r>
            <a:endParaRPr lang="de-DE" dirty="0"/>
          </a:p>
        </p:txBody>
      </p:sp>
      <p:pic>
        <p:nvPicPr>
          <p:cNvPr id="9" name="image.png"/>
          <p:cNvPicPr/>
          <p:nvPr/>
        </p:nvPicPr>
        <p:blipFill>
          <a:blip r:embed="rId12" cstate="print">
            <a:extLst/>
          </a:blip>
          <a:stretch>
            <a:fillRect/>
          </a:stretch>
        </p:blipFill>
        <p:spPr>
          <a:xfrm>
            <a:off x="8331158" y="161215"/>
            <a:ext cx="812842" cy="539778"/>
          </a:xfrm>
          <a:prstGeom prst="rect">
            <a:avLst/>
          </a:prstGeom>
          <a:ln w="25400">
            <a:round/>
          </a:ln>
        </p:spPr>
      </p:pic>
      <p:sp>
        <p:nvSpPr>
          <p:cNvPr id="12" name="Dia számának helye 11"/>
          <p:cNvSpPr>
            <a:spLocks noGrp="1"/>
          </p:cNvSpPr>
          <p:nvPr>
            <p:ph type="sldNum" sz="quarter" idx="4"/>
          </p:nvPr>
        </p:nvSpPr>
        <p:spPr>
          <a:xfrm>
            <a:off x="8615544" y="6390055"/>
            <a:ext cx="410796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660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36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53" rtl="0" eaLnBrk="1" latinLnBrk="0" hangingPunct="1">
        <a:spcBef>
          <a:spcPct val="0"/>
        </a:spcBef>
        <a:buNone/>
        <a:defRPr sz="1600" b="1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6204" indent="-176204" algn="l" defTabSz="914353" rtl="0" eaLnBrk="1" latinLnBrk="0" hangingPunct="1">
        <a:spcBef>
          <a:spcPct val="20000"/>
        </a:spcBef>
        <a:buFont typeface="Wingdings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344" indent="-184140" algn="l" defTabSz="914353" rtl="0" eaLnBrk="1" latinLnBrk="0" hangingPunct="1">
        <a:spcBef>
          <a:spcPct val="20000"/>
        </a:spcBef>
        <a:buFont typeface="Symbol" pitchFamily="18" charset="2"/>
        <a:buChar char="-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48" indent="-176204" algn="l" defTabSz="914353" rtl="0" eaLnBrk="1" latinLnBrk="0" hangingPunct="1">
        <a:spcBef>
          <a:spcPct val="20000"/>
        </a:spcBef>
        <a:buFont typeface="Wingdings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688" indent="-184140" algn="l" defTabSz="914353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6892" indent="-176204" algn="l" defTabSz="914353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17" descr="Kép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420710"/>
            <a:ext cx="9144000" cy="437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Rectangle 220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7979453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531" y="234887"/>
            <a:ext cx="8794113" cy="298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4771" y="1299050"/>
            <a:ext cx="8794113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4771" y="542615"/>
            <a:ext cx="8794113" cy="6287850"/>
            <a:chOff x="77" y="335"/>
            <a:chExt cx="5429" cy="3882"/>
          </a:xfrm>
        </p:grpSpPr>
        <p:sp>
          <p:nvSpPr>
            <p:cNvPr id="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94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  <a:cs typeface="Arial" pitchFamily="34" charset="0"/>
                </a:rPr>
                <a:t>Unit of measure</a:t>
              </a:r>
            </a:p>
          </p:txBody>
        </p:sp>
        <p:sp>
          <p:nvSpPr>
            <p:cNvPr id="103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1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83707" indent="-583707" defTabSz="909420" fontAlgn="base">
                <a:spcBef>
                  <a:spcPct val="0"/>
                </a:spcBef>
                <a:spcAft>
                  <a:spcPct val="0"/>
                </a:spcAft>
                <a:tabLst>
                  <a:tab pos="541784" algn="r"/>
                </a:tabLst>
                <a:defRPr/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	*	Footnote</a:t>
              </a:r>
            </a:p>
            <a:p>
              <a:pPr marL="583707" indent="-583707" defTabSz="909420" fontAlgn="base">
                <a:spcBef>
                  <a:spcPct val="20000"/>
                </a:spcBef>
                <a:spcAft>
                  <a:spcPct val="0"/>
                </a:spcAft>
                <a:tabLst>
                  <a:tab pos="541784" algn="r"/>
                </a:tabLst>
                <a:defRPr/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Source:		Source</a:t>
              </a: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/>
        </p:nvSpPr>
        <p:spPr bwMode="auto">
          <a:xfrm rot="5400000">
            <a:off x="8156586" y="3927109"/>
            <a:ext cx="1822615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Working Draft - Last Modified 5/17/2009 10:29:55 PM</a:t>
            </a:r>
          </a:p>
        </p:txBody>
      </p:sp>
      <p:sp>
        <p:nvSpPr>
          <p:cNvPr id="12" name="Footer Placeholder 3"/>
          <p:cNvSpPr txBox="1">
            <a:spLocks noGrp="1"/>
          </p:cNvSpPr>
          <p:nvPr/>
        </p:nvSpPr>
        <p:spPr bwMode="auto">
          <a:xfrm>
            <a:off x="41" y="6420711"/>
            <a:ext cx="5594929" cy="367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752" tIns="46381" rIns="92752" bIns="4638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hu-HU" sz="10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4" name="Picture 2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66047" y="6184187"/>
            <a:ext cx="447076" cy="472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670" y="6644195"/>
            <a:ext cx="1904932" cy="18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8A729F-F780-4A03-817F-43F8373F0206}" type="slidenum">
              <a:rPr lang="en-US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00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</p:sldLayoutIdLst>
  <p:hf hdr="0" ftr="0" dt="0"/>
  <p:txStyles>
    <p:titleStyle>
      <a:lvl1pPr algn="l" defTabSz="90638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638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638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638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638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357" algn="l" defTabSz="90942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8768" algn="l" defTabSz="90942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3157" algn="l" defTabSz="90942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7539" algn="l" defTabSz="90942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5137" indent="-345137" algn="l" defTabSz="906384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3539" indent="-141924" algn="l" defTabSz="906384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6752" indent="-148377" algn="l" defTabSz="906384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5450" indent="-133861" algn="l" defTabSz="906384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8671" indent="-148377" algn="l" defTabSz="906384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56156" indent="-151569" algn="l" defTabSz="90942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20539" indent="-151569" algn="l" defTabSz="90942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84927" indent="-151569" algn="l" defTabSz="90942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49311" indent="-151569" algn="l" defTabSz="90942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357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8768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3157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7539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1925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6309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0695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5081" algn="l" defTabSz="9287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33150389"/>
              </p:ext>
            </p:extLst>
          </p:nvPr>
        </p:nvGraphicFramePr>
        <p:xfrm>
          <a:off x="1118" y="1118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8" y="1118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01837" y="517925"/>
            <a:ext cx="6536531" cy="1643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>
                <a:sym typeface="DIN Next W1G Light" charset="0"/>
              </a:rPr>
              <a:t>Click to edit Master title style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1837" y="1902023"/>
            <a:ext cx="6536531" cy="371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>
                <a:sym typeface="DIN Next W1G Light" charset="0"/>
              </a:rPr>
              <a:t>Click to edit Master text styles</a:t>
            </a:r>
          </a:p>
          <a:p>
            <a:pPr lvl="1"/>
            <a:r>
              <a:rPr lang="en-US" altLang="hu-HU" smtClean="0">
                <a:sym typeface="DIN Next W1G Light" charset="0"/>
              </a:rPr>
              <a:t>Second level</a:t>
            </a:r>
          </a:p>
          <a:p>
            <a:pPr lvl="2"/>
            <a:r>
              <a:rPr lang="en-US" altLang="hu-HU" smtClean="0">
                <a:sym typeface="DIN Next W1G Light" charset="0"/>
              </a:rPr>
              <a:t>Third level</a:t>
            </a:r>
          </a:p>
          <a:p>
            <a:pPr lvl="3"/>
            <a:r>
              <a:rPr lang="en-US" altLang="hu-HU" smtClean="0">
                <a:sym typeface="DIN Next W1G Light" charset="0"/>
              </a:rPr>
              <a:t>Fourth level</a:t>
            </a:r>
          </a:p>
          <a:p>
            <a:pPr lvl="4"/>
            <a:r>
              <a:rPr lang="en-US" altLang="hu-HU" smtClean="0">
                <a:sym typeface="DIN Next W1G Light" charset="0"/>
              </a:rPr>
              <a:t>Fifth level</a:t>
            </a:r>
          </a:p>
        </p:txBody>
      </p:sp>
      <p:sp>
        <p:nvSpPr>
          <p:cNvPr id="2" name="Text Box 3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8335867" y="6349008"/>
            <a:ext cx="195337" cy="178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64281" tIns="32140" rIns="64281" bIns="3214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4C4C4C"/>
                </a:solidFill>
                <a:latin typeface="DIN Next LT Pro Light" charset="0"/>
                <a:ea typeface="DIN Next LT Pro Light" charset="0"/>
                <a:cs typeface="DIN Next LT Pro Light" charset="0"/>
                <a:sym typeface="DIN Next LT Pro Light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F902DB-8648-4341-86D0-1E9CB7333C53}" type="slidenum">
              <a:rPr lang="en-US" altLang="hu-HU" sz="8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hu-HU" sz="800" dirty="0"/>
          </a:p>
        </p:txBody>
      </p:sp>
      <p:pic>
        <p:nvPicPr>
          <p:cNvPr id="4101" name="Picture 4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329" y="178595"/>
            <a:ext cx="805904" cy="53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7548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+mj-lt"/>
          <a:ea typeface="+mj-ea"/>
          <a:cs typeface="+mj-cs"/>
          <a:sym typeface="DIN Next W1G Light" charset="0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5pPr>
      <a:lvl6pPr marL="321407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6pPr>
      <a:lvl7pPr marL="642816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7pPr>
      <a:lvl8pPr marL="964224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8pPr>
      <a:lvl9pPr marL="1285631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9pPr>
    </p:titleStyle>
    <p:bodyStyle>
      <a:lvl1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1pPr>
      <a:lvl2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2pPr>
      <a:lvl3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3pPr>
      <a:lvl4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4pPr>
      <a:lvl5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5pPr>
      <a:lvl6pPr marL="455328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6pPr>
      <a:lvl7pPr marL="776735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7pPr>
      <a:lvl8pPr marL="1098144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8pPr>
      <a:lvl9pPr marL="1419551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9pPr>
    </p:bodyStyle>
    <p:otherStyle>
      <a:defPPr>
        <a:defRPr lang="hu-HU"/>
      </a:defPPr>
      <a:lvl1pPr marL="0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07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16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24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31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041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447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856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264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2375395"/>
              </p:ext>
            </p:extLst>
          </p:nvPr>
        </p:nvGraphicFramePr>
        <p:xfrm>
          <a:off x="1118" y="1118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8" y="1118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01837" y="517925"/>
            <a:ext cx="6536531" cy="1643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>
                <a:sym typeface="DIN Next W1G Light" charset="0"/>
              </a:rPr>
              <a:t>Click to edit Master title style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1837" y="1902023"/>
            <a:ext cx="6536531" cy="371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>
                <a:sym typeface="DIN Next W1G Light" charset="0"/>
              </a:rPr>
              <a:t>Click to edit Master text styles</a:t>
            </a:r>
          </a:p>
          <a:p>
            <a:pPr lvl="1"/>
            <a:r>
              <a:rPr lang="en-US" altLang="hu-HU" smtClean="0">
                <a:sym typeface="DIN Next W1G Light" charset="0"/>
              </a:rPr>
              <a:t>Second level</a:t>
            </a:r>
          </a:p>
          <a:p>
            <a:pPr lvl="2"/>
            <a:r>
              <a:rPr lang="en-US" altLang="hu-HU" smtClean="0">
                <a:sym typeface="DIN Next W1G Light" charset="0"/>
              </a:rPr>
              <a:t>Third level</a:t>
            </a:r>
          </a:p>
          <a:p>
            <a:pPr lvl="3"/>
            <a:r>
              <a:rPr lang="en-US" altLang="hu-HU" smtClean="0">
                <a:sym typeface="DIN Next W1G Light" charset="0"/>
              </a:rPr>
              <a:t>Fourth level</a:t>
            </a:r>
          </a:p>
          <a:p>
            <a:pPr lvl="4"/>
            <a:r>
              <a:rPr lang="en-US" altLang="hu-HU" smtClean="0">
                <a:sym typeface="DIN Next W1G Light" charset="0"/>
              </a:rPr>
              <a:t>Fifth level</a:t>
            </a:r>
          </a:p>
        </p:txBody>
      </p:sp>
      <p:sp>
        <p:nvSpPr>
          <p:cNvPr id="2" name="Text Box 3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8335867" y="6349008"/>
            <a:ext cx="195337" cy="178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64281" tIns="32140" rIns="64281" bIns="3214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4C4C4C"/>
                </a:solidFill>
                <a:latin typeface="DIN Next LT Pro Light" charset="0"/>
                <a:ea typeface="DIN Next LT Pro Light" charset="0"/>
                <a:cs typeface="DIN Next LT Pro Light" charset="0"/>
                <a:sym typeface="DIN Next LT Pro Light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9F902DB-8648-4341-86D0-1E9CB7333C53}" type="slidenum">
              <a:rPr lang="en-US" altLang="hu-HU" sz="800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hu-HU" sz="800" dirty="0"/>
          </a:p>
        </p:txBody>
      </p:sp>
      <p:pic>
        <p:nvPicPr>
          <p:cNvPr id="4101" name="Picture 4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329" y="178595"/>
            <a:ext cx="805904" cy="53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6102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+mj-lt"/>
          <a:ea typeface="+mj-ea"/>
          <a:cs typeface="+mj-cs"/>
          <a:sym typeface="DIN Next W1G Light" charset="0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5pPr>
      <a:lvl6pPr marL="321407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6pPr>
      <a:lvl7pPr marL="642816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7pPr>
      <a:lvl8pPr marL="964224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8pPr>
      <a:lvl9pPr marL="1285631" algn="l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rgbClr val="59B23F"/>
          </a:solidFill>
          <a:latin typeface="DIN Next W1G Light" charset="0"/>
          <a:ea typeface="ヒラギノ角ゴ ProN W3" charset="0"/>
          <a:cs typeface="ヒラギノ角ゴ ProN W3" charset="0"/>
          <a:sym typeface="DIN Next W1G Light" charset="0"/>
        </a:defRPr>
      </a:lvl9pPr>
    </p:titleStyle>
    <p:bodyStyle>
      <a:lvl1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1pPr>
      <a:lvl2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2pPr>
      <a:lvl3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3pPr>
      <a:lvl4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4pPr>
      <a:lvl5pPr marL="133920" indent="-133920" algn="l" rtl="0" eaLnBrk="0" fontAlgn="base" hangingPunct="0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5pPr>
      <a:lvl6pPr marL="455328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6pPr>
      <a:lvl7pPr marL="776735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7pPr>
      <a:lvl8pPr marL="1098144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8pPr>
      <a:lvl9pPr marL="1419551" indent="-133920" algn="l" rtl="0" fontAlgn="base">
        <a:spcBef>
          <a:spcPct val="0"/>
        </a:spcBef>
        <a:spcAft>
          <a:spcPct val="0"/>
        </a:spcAft>
        <a:buClr>
          <a:srgbClr val="59B23F"/>
        </a:buClr>
        <a:buSzPct val="125000"/>
        <a:buFont typeface="DIN Next W1G Light" charset="0"/>
        <a:buChar char="•"/>
        <a:defRPr>
          <a:solidFill>
            <a:srgbClr val="4C4C4C"/>
          </a:solidFill>
          <a:latin typeface="+mn-lt"/>
          <a:ea typeface="+mn-ea"/>
          <a:cs typeface="+mn-cs"/>
          <a:sym typeface="DIN Next W1G Light" charset="0"/>
        </a:defRPr>
      </a:lvl9pPr>
    </p:bodyStyle>
    <p:otherStyle>
      <a:defPPr>
        <a:defRPr lang="hu-HU"/>
      </a:defPPr>
      <a:lvl1pPr marL="0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07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16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24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31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041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447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856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264" algn="l" defTabSz="64281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8.xml"/><Relationship Id="rId5" Type="http://schemas.openxmlformats.org/officeDocument/2006/relationships/chart" Target="../charts/chart3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chart" Target="../charts/chart9.xml"/><Relationship Id="rId7" Type="http://schemas.openxmlformats.org/officeDocument/2006/relationships/chart" Target="../charts/chart13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Relationship Id="rId9" Type="http://schemas.openxmlformats.org/officeDocument/2006/relationships/chart" Target="../charts/chart15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4.xml"/><Relationship Id="rId117" Type="http://schemas.openxmlformats.org/officeDocument/2006/relationships/image" Target="../media/image10.emf"/><Relationship Id="rId21" Type="http://schemas.openxmlformats.org/officeDocument/2006/relationships/tags" Target="../tags/tag29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63" Type="http://schemas.openxmlformats.org/officeDocument/2006/relationships/tags" Target="../tags/tag71.xml"/><Relationship Id="rId68" Type="http://schemas.openxmlformats.org/officeDocument/2006/relationships/tags" Target="../tags/tag76.xml"/><Relationship Id="rId84" Type="http://schemas.openxmlformats.org/officeDocument/2006/relationships/tags" Target="../tags/tag92.xml"/><Relationship Id="rId89" Type="http://schemas.openxmlformats.org/officeDocument/2006/relationships/tags" Target="../tags/tag97.xml"/><Relationship Id="rId112" Type="http://schemas.openxmlformats.org/officeDocument/2006/relationships/image" Target="../media/image29.png"/><Relationship Id="rId133" Type="http://schemas.openxmlformats.org/officeDocument/2006/relationships/oleObject" Target="../embeddings/oleObject15.bin"/><Relationship Id="rId138" Type="http://schemas.openxmlformats.org/officeDocument/2006/relationships/image" Target="../media/image19.emf"/><Relationship Id="rId154" Type="http://schemas.openxmlformats.org/officeDocument/2006/relationships/image" Target="../media/image27.emf"/><Relationship Id="rId16" Type="http://schemas.openxmlformats.org/officeDocument/2006/relationships/tags" Target="../tags/tag24.xml"/><Relationship Id="rId107" Type="http://schemas.openxmlformats.org/officeDocument/2006/relationships/tags" Target="../tags/tag115.xml"/><Relationship Id="rId11" Type="http://schemas.openxmlformats.org/officeDocument/2006/relationships/tags" Target="../tags/tag19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53" Type="http://schemas.openxmlformats.org/officeDocument/2006/relationships/tags" Target="../tags/tag61.xml"/><Relationship Id="rId58" Type="http://schemas.openxmlformats.org/officeDocument/2006/relationships/tags" Target="../tags/tag66.xml"/><Relationship Id="rId74" Type="http://schemas.openxmlformats.org/officeDocument/2006/relationships/tags" Target="../tags/tag82.xml"/><Relationship Id="rId79" Type="http://schemas.openxmlformats.org/officeDocument/2006/relationships/tags" Target="../tags/tag87.xml"/><Relationship Id="rId102" Type="http://schemas.openxmlformats.org/officeDocument/2006/relationships/tags" Target="../tags/tag110.xml"/><Relationship Id="rId123" Type="http://schemas.openxmlformats.org/officeDocument/2006/relationships/image" Target="../media/image12.emf"/><Relationship Id="rId128" Type="http://schemas.openxmlformats.org/officeDocument/2006/relationships/image" Target="../media/image14.emf"/><Relationship Id="rId144" Type="http://schemas.openxmlformats.org/officeDocument/2006/relationships/image" Target="../media/image22.emf"/><Relationship Id="rId149" Type="http://schemas.openxmlformats.org/officeDocument/2006/relationships/oleObject" Target="../embeddings/oleObject23.bin"/><Relationship Id="rId5" Type="http://schemas.openxmlformats.org/officeDocument/2006/relationships/tags" Target="../tags/tag13.xml"/><Relationship Id="rId90" Type="http://schemas.openxmlformats.org/officeDocument/2006/relationships/tags" Target="../tags/tag98.xml"/><Relationship Id="rId95" Type="http://schemas.openxmlformats.org/officeDocument/2006/relationships/tags" Target="../tags/tag103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64" Type="http://schemas.openxmlformats.org/officeDocument/2006/relationships/tags" Target="../tags/tag72.xml"/><Relationship Id="rId69" Type="http://schemas.openxmlformats.org/officeDocument/2006/relationships/tags" Target="../tags/tag77.xml"/><Relationship Id="rId113" Type="http://schemas.openxmlformats.org/officeDocument/2006/relationships/image" Target="../media/image30.png"/><Relationship Id="rId118" Type="http://schemas.openxmlformats.org/officeDocument/2006/relationships/oleObject" Target="../embeddings/oleObject8.bin"/><Relationship Id="rId134" Type="http://schemas.openxmlformats.org/officeDocument/2006/relationships/image" Target="../media/image17.emf"/><Relationship Id="rId139" Type="http://schemas.openxmlformats.org/officeDocument/2006/relationships/oleObject" Target="../embeddings/oleObject18.bin"/><Relationship Id="rId80" Type="http://schemas.openxmlformats.org/officeDocument/2006/relationships/tags" Target="../tags/tag88.xml"/><Relationship Id="rId85" Type="http://schemas.openxmlformats.org/officeDocument/2006/relationships/tags" Target="../tags/tag93.xml"/><Relationship Id="rId150" Type="http://schemas.openxmlformats.org/officeDocument/2006/relationships/image" Target="../media/image25.emf"/><Relationship Id="rId155" Type="http://schemas.openxmlformats.org/officeDocument/2006/relationships/oleObject" Target="../embeddings/oleObject26.bin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tags" Target="../tags/tag67.xml"/><Relationship Id="rId67" Type="http://schemas.openxmlformats.org/officeDocument/2006/relationships/tags" Target="../tags/tag75.xml"/><Relationship Id="rId103" Type="http://schemas.openxmlformats.org/officeDocument/2006/relationships/tags" Target="../tags/tag111.xml"/><Relationship Id="rId108" Type="http://schemas.openxmlformats.org/officeDocument/2006/relationships/tags" Target="../tags/tag116.xml"/><Relationship Id="rId116" Type="http://schemas.openxmlformats.org/officeDocument/2006/relationships/oleObject" Target="../embeddings/oleObject7.bin"/><Relationship Id="rId124" Type="http://schemas.openxmlformats.org/officeDocument/2006/relationships/oleObject" Target="../embeddings/oleObject11.bin"/><Relationship Id="rId129" Type="http://schemas.openxmlformats.org/officeDocument/2006/relationships/oleObject" Target="../embeddings/oleObject13.bin"/><Relationship Id="rId137" Type="http://schemas.openxmlformats.org/officeDocument/2006/relationships/oleObject" Target="../embeddings/oleObject17.bin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tags" Target="../tags/tag70.xml"/><Relationship Id="rId70" Type="http://schemas.openxmlformats.org/officeDocument/2006/relationships/tags" Target="../tags/tag78.xml"/><Relationship Id="rId75" Type="http://schemas.openxmlformats.org/officeDocument/2006/relationships/tags" Target="../tags/tag83.xml"/><Relationship Id="rId83" Type="http://schemas.openxmlformats.org/officeDocument/2006/relationships/tags" Target="../tags/tag91.xml"/><Relationship Id="rId88" Type="http://schemas.openxmlformats.org/officeDocument/2006/relationships/tags" Target="../tags/tag96.xml"/><Relationship Id="rId91" Type="http://schemas.openxmlformats.org/officeDocument/2006/relationships/tags" Target="../tags/tag99.xml"/><Relationship Id="rId96" Type="http://schemas.openxmlformats.org/officeDocument/2006/relationships/tags" Target="../tags/tag104.xml"/><Relationship Id="rId111" Type="http://schemas.openxmlformats.org/officeDocument/2006/relationships/slideLayout" Target="../slideLayouts/slideLayout22.xml"/><Relationship Id="rId132" Type="http://schemas.openxmlformats.org/officeDocument/2006/relationships/image" Target="../media/image16.emf"/><Relationship Id="rId140" Type="http://schemas.openxmlformats.org/officeDocument/2006/relationships/image" Target="../media/image20.emf"/><Relationship Id="rId145" Type="http://schemas.openxmlformats.org/officeDocument/2006/relationships/oleObject" Target="../embeddings/oleObject21.bin"/><Relationship Id="rId153" Type="http://schemas.openxmlformats.org/officeDocument/2006/relationships/oleObject" Target="../embeddings/oleObject25.bin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tags" Target="../tags/tag65.xml"/><Relationship Id="rId106" Type="http://schemas.openxmlformats.org/officeDocument/2006/relationships/tags" Target="../tags/tag114.xml"/><Relationship Id="rId114" Type="http://schemas.openxmlformats.org/officeDocument/2006/relationships/oleObject" Target="../embeddings/oleObject6.bin"/><Relationship Id="rId119" Type="http://schemas.openxmlformats.org/officeDocument/2006/relationships/image" Target="../media/image11.emf"/><Relationship Id="rId127" Type="http://schemas.openxmlformats.org/officeDocument/2006/relationships/oleObject" Target="../embeddings/oleObject12.bin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tags" Target="../tags/tag68.xml"/><Relationship Id="rId65" Type="http://schemas.openxmlformats.org/officeDocument/2006/relationships/tags" Target="../tags/tag73.xml"/><Relationship Id="rId73" Type="http://schemas.openxmlformats.org/officeDocument/2006/relationships/tags" Target="../tags/tag81.xml"/><Relationship Id="rId78" Type="http://schemas.openxmlformats.org/officeDocument/2006/relationships/tags" Target="../tags/tag86.xml"/><Relationship Id="rId81" Type="http://schemas.openxmlformats.org/officeDocument/2006/relationships/tags" Target="../tags/tag89.xml"/><Relationship Id="rId86" Type="http://schemas.openxmlformats.org/officeDocument/2006/relationships/tags" Target="../tags/tag94.xml"/><Relationship Id="rId94" Type="http://schemas.openxmlformats.org/officeDocument/2006/relationships/tags" Target="../tags/tag102.xml"/><Relationship Id="rId99" Type="http://schemas.openxmlformats.org/officeDocument/2006/relationships/tags" Target="../tags/tag107.xml"/><Relationship Id="rId101" Type="http://schemas.openxmlformats.org/officeDocument/2006/relationships/tags" Target="../tags/tag109.xml"/><Relationship Id="rId122" Type="http://schemas.openxmlformats.org/officeDocument/2006/relationships/oleObject" Target="../embeddings/oleObject10.bin"/><Relationship Id="rId130" Type="http://schemas.openxmlformats.org/officeDocument/2006/relationships/image" Target="../media/image15.emf"/><Relationship Id="rId135" Type="http://schemas.openxmlformats.org/officeDocument/2006/relationships/oleObject" Target="../embeddings/oleObject16.bin"/><Relationship Id="rId143" Type="http://schemas.openxmlformats.org/officeDocument/2006/relationships/oleObject" Target="../embeddings/oleObject20.bin"/><Relationship Id="rId148" Type="http://schemas.openxmlformats.org/officeDocument/2006/relationships/image" Target="../media/image24.emf"/><Relationship Id="rId151" Type="http://schemas.openxmlformats.org/officeDocument/2006/relationships/oleObject" Target="../embeddings/oleObject24.bin"/><Relationship Id="rId156" Type="http://schemas.openxmlformats.org/officeDocument/2006/relationships/image" Target="../media/image28.emf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9" Type="http://schemas.openxmlformats.org/officeDocument/2006/relationships/tags" Target="../tags/tag47.xml"/><Relationship Id="rId109" Type="http://schemas.openxmlformats.org/officeDocument/2006/relationships/tags" Target="../tags/tag117.xml"/><Relationship Id="rId34" Type="http://schemas.openxmlformats.org/officeDocument/2006/relationships/tags" Target="../tags/tag42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76" Type="http://schemas.openxmlformats.org/officeDocument/2006/relationships/tags" Target="../tags/tag84.xml"/><Relationship Id="rId97" Type="http://schemas.openxmlformats.org/officeDocument/2006/relationships/tags" Target="../tags/tag105.xml"/><Relationship Id="rId104" Type="http://schemas.openxmlformats.org/officeDocument/2006/relationships/tags" Target="../tags/tag112.xml"/><Relationship Id="rId120" Type="http://schemas.openxmlformats.org/officeDocument/2006/relationships/oleObject" Target="../embeddings/oleObject9.bin"/><Relationship Id="rId125" Type="http://schemas.openxmlformats.org/officeDocument/2006/relationships/image" Target="../media/image13.emf"/><Relationship Id="rId141" Type="http://schemas.openxmlformats.org/officeDocument/2006/relationships/oleObject" Target="../embeddings/oleObject19.bin"/><Relationship Id="rId146" Type="http://schemas.openxmlformats.org/officeDocument/2006/relationships/image" Target="../media/image23.emf"/><Relationship Id="rId7" Type="http://schemas.openxmlformats.org/officeDocument/2006/relationships/tags" Target="../tags/tag15.xml"/><Relationship Id="rId71" Type="http://schemas.openxmlformats.org/officeDocument/2006/relationships/tags" Target="../tags/tag79.xml"/><Relationship Id="rId92" Type="http://schemas.openxmlformats.org/officeDocument/2006/relationships/tags" Target="../tags/tag100.xml"/><Relationship Id="rId2" Type="http://schemas.openxmlformats.org/officeDocument/2006/relationships/tags" Target="../tags/tag10.xml"/><Relationship Id="rId29" Type="http://schemas.openxmlformats.org/officeDocument/2006/relationships/tags" Target="../tags/tag37.xml"/><Relationship Id="rId24" Type="http://schemas.openxmlformats.org/officeDocument/2006/relationships/tags" Target="../tags/tag32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66" Type="http://schemas.openxmlformats.org/officeDocument/2006/relationships/tags" Target="../tags/tag74.xml"/><Relationship Id="rId87" Type="http://schemas.openxmlformats.org/officeDocument/2006/relationships/tags" Target="../tags/tag95.xml"/><Relationship Id="rId110" Type="http://schemas.openxmlformats.org/officeDocument/2006/relationships/tags" Target="../tags/tag118.xml"/><Relationship Id="rId115" Type="http://schemas.openxmlformats.org/officeDocument/2006/relationships/image" Target="../media/image9.emf"/><Relationship Id="rId131" Type="http://schemas.openxmlformats.org/officeDocument/2006/relationships/oleObject" Target="../embeddings/oleObject14.bin"/><Relationship Id="rId136" Type="http://schemas.openxmlformats.org/officeDocument/2006/relationships/image" Target="../media/image18.emf"/><Relationship Id="rId61" Type="http://schemas.openxmlformats.org/officeDocument/2006/relationships/tags" Target="../tags/tag69.xml"/><Relationship Id="rId82" Type="http://schemas.openxmlformats.org/officeDocument/2006/relationships/tags" Target="../tags/tag90.xml"/><Relationship Id="rId152" Type="http://schemas.openxmlformats.org/officeDocument/2006/relationships/image" Target="../media/image26.emf"/><Relationship Id="rId19" Type="http://schemas.openxmlformats.org/officeDocument/2006/relationships/tags" Target="../tags/tag27.xml"/><Relationship Id="rId14" Type="http://schemas.openxmlformats.org/officeDocument/2006/relationships/tags" Target="../tags/tag22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56" Type="http://schemas.openxmlformats.org/officeDocument/2006/relationships/tags" Target="../tags/tag64.xml"/><Relationship Id="rId77" Type="http://schemas.openxmlformats.org/officeDocument/2006/relationships/tags" Target="../tags/tag85.xml"/><Relationship Id="rId100" Type="http://schemas.openxmlformats.org/officeDocument/2006/relationships/tags" Target="../tags/tag108.xml"/><Relationship Id="rId105" Type="http://schemas.openxmlformats.org/officeDocument/2006/relationships/tags" Target="../tags/tag113.xml"/><Relationship Id="rId126" Type="http://schemas.openxmlformats.org/officeDocument/2006/relationships/image" Target="../media/image4.png"/><Relationship Id="rId147" Type="http://schemas.openxmlformats.org/officeDocument/2006/relationships/oleObject" Target="../embeddings/oleObject22.bin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72" Type="http://schemas.openxmlformats.org/officeDocument/2006/relationships/tags" Target="../tags/tag80.xml"/><Relationship Id="rId93" Type="http://schemas.openxmlformats.org/officeDocument/2006/relationships/tags" Target="../tags/tag101.xml"/><Relationship Id="rId98" Type="http://schemas.openxmlformats.org/officeDocument/2006/relationships/tags" Target="../tags/tag106.xml"/><Relationship Id="rId121" Type="http://schemas.openxmlformats.org/officeDocument/2006/relationships/image" Target="../media/image1.emf"/><Relationship Id="rId142" Type="http://schemas.openxmlformats.org/officeDocument/2006/relationships/image" Target="../media/image21.emf"/><Relationship Id="rId3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167138" y="2416387"/>
            <a:ext cx="8860359" cy="3996349"/>
          </a:xfrm>
        </p:spPr>
        <p:txBody>
          <a:bodyPr/>
          <a:lstStyle/>
          <a:p>
            <a:pPr eaLnBrk="1" hangingPunct="1"/>
            <a:r>
              <a:rPr lang="hu-HU" altLang="hu-HU" b="1" dirty="0">
                <a:latin typeface="Arial" pitchFamily="34" charset="0"/>
                <a:cs typeface="Arial" pitchFamily="34" charset="0"/>
              </a:rPr>
              <a:t>Piaci változások, pénzügyi ajánlatok </a:t>
            </a:r>
            <a:r>
              <a:rPr lang="hu-HU" altLang="hu-HU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b="1" dirty="0" smtClean="0">
                <a:latin typeface="Arial" pitchFamily="34" charset="0"/>
                <a:cs typeface="Arial" pitchFamily="34" charset="0"/>
              </a:rPr>
            </a:br>
            <a:r>
              <a:rPr lang="hu-HU" altLang="hu-HU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b="1" dirty="0" smtClean="0">
                <a:latin typeface="Arial" pitchFamily="34" charset="0"/>
                <a:cs typeface="Arial" pitchFamily="34" charset="0"/>
              </a:rPr>
            </a:br>
            <a:r>
              <a:rPr lang="hu-HU" altLang="hu-HU" dirty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dirty="0">
                <a:latin typeface="Arial" pitchFamily="34" charset="0"/>
                <a:cs typeface="Arial" pitchFamily="34" charset="0"/>
              </a:rPr>
            </a:br>
            <a:r>
              <a:rPr lang="hu-HU" altLang="hu-HU" sz="2800" dirty="0">
                <a:latin typeface="Arial" pitchFamily="34" charset="0"/>
                <a:cs typeface="Arial" pitchFamily="34" charset="0"/>
              </a:rPr>
              <a:t>Előadó: Kormos </a:t>
            </a:r>
            <a:r>
              <a:rPr lang="hu-HU" altLang="hu-HU" sz="2800" dirty="0" smtClean="0">
                <a:latin typeface="Arial" pitchFamily="34" charset="0"/>
                <a:cs typeface="Arial" pitchFamily="34" charset="0"/>
              </a:rPr>
              <a:t>Zoltán igazgató</a:t>
            </a:r>
            <a:br>
              <a:rPr lang="hu-HU" altLang="hu-HU" sz="2800" dirty="0" smtClean="0">
                <a:latin typeface="Arial" pitchFamily="34" charset="0"/>
                <a:cs typeface="Arial" pitchFamily="34" charset="0"/>
              </a:rPr>
            </a:br>
            <a:r>
              <a:rPr lang="hu-HU" altLang="hu-HU" sz="2800" dirty="0" smtClean="0">
                <a:latin typeface="Arial" pitchFamily="34" charset="0"/>
                <a:cs typeface="Arial" pitchFamily="34" charset="0"/>
              </a:rPr>
              <a:t>OTP Bank, Lakás Hitelek Főosztálya</a:t>
            </a:r>
            <a:r>
              <a:rPr lang="hu-HU" altLang="hu-HU" sz="2800" dirty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sz="2800" dirty="0">
                <a:latin typeface="Arial" pitchFamily="34" charset="0"/>
                <a:cs typeface="Arial" pitchFamily="34" charset="0"/>
              </a:rPr>
            </a:br>
            <a:r>
              <a:rPr lang="hu-HU" altLang="hu-HU" sz="2800" dirty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sz="2800" dirty="0">
                <a:latin typeface="Arial" pitchFamily="34" charset="0"/>
                <a:cs typeface="Arial" pitchFamily="34" charset="0"/>
              </a:rPr>
            </a:br>
            <a:r>
              <a:rPr lang="hu-HU" altLang="hu-HU" sz="2000" dirty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sz="2000" dirty="0">
                <a:latin typeface="Arial" pitchFamily="34" charset="0"/>
                <a:cs typeface="Arial" pitchFamily="34" charset="0"/>
              </a:rPr>
            </a:br>
            <a:r>
              <a:rPr lang="hu-HU" altLang="hu-HU" sz="3800" dirty="0">
                <a:latin typeface="Arial" pitchFamily="34" charset="0"/>
                <a:cs typeface="Arial" pitchFamily="34" charset="0"/>
              </a:rPr>
              <a:t/>
            </a:r>
            <a:br>
              <a:rPr lang="hu-HU" altLang="hu-HU" sz="3800" dirty="0">
                <a:latin typeface="Arial" pitchFamily="34" charset="0"/>
                <a:cs typeface="Arial" pitchFamily="34" charset="0"/>
              </a:rPr>
            </a:br>
            <a:r>
              <a:rPr lang="hu-HU" altLang="hu-HU" sz="2800" dirty="0" smtClean="0">
                <a:latin typeface="Arial" pitchFamily="34" charset="0"/>
                <a:cs typeface="Arial" pitchFamily="34" charset="0"/>
              </a:rPr>
              <a:t>2016.05.27.</a:t>
            </a:r>
            <a:endParaRPr lang="en-US" altLang="hu-HU" sz="2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0755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1"/>
          <p:cNvSpPr>
            <a:spLocks noGrp="1"/>
          </p:cNvSpPr>
          <p:nvPr>
            <p:ph type="title"/>
          </p:nvPr>
        </p:nvSpPr>
        <p:spPr>
          <a:xfrm>
            <a:off x="156308" y="161216"/>
            <a:ext cx="8174850" cy="248866"/>
          </a:xfrm>
        </p:spPr>
        <p:txBody>
          <a:bodyPr/>
          <a:lstStyle/>
          <a:p>
            <a:r>
              <a:rPr lang="hu-HU" dirty="0" smtClean="0"/>
              <a:t>Mekkora segítséget jelentenek a támogatások?</a:t>
            </a:r>
            <a:endParaRPr lang="hu-HU" dirty="0"/>
          </a:p>
        </p:txBody>
      </p:sp>
      <p:sp>
        <p:nvSpPr>
          <p:cNvPr id="7" name="Szövegdoboz 6"/>
          <p:cNvSpPr txBox="1"/>
          <p:nvPr/>
        </p:nvSpPr>
        <p:spPr>
          <a:xfrm>
            <a:off x="323528" y="764705"/>
            <a:ext cx="8568952" cy="5663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2 gyerekes család Zalaegerszegen nagyobb lakásba költözne. </a:t>
            </a:r>
          </a:p>
          <a:p>
            <a:pPr marL="285736" indent="-285736" algn="ctr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Férj és Feleség Munkáltatója is évi 300-300 ezer Ft béren kívüli juttatást adna a lakáshitel törlesztéséhez, 10 millió Ft hitelben gondolkodnak. </a:t>
            </a: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0</a:t>
            </a:fld>
            <a:endParaRPr lang="hu-HU">
              <a:solidFill>
                <a:prstClr val="black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1370" y="4070029"/>
            <a:ext cx="2563038" cy="2167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323529" y="1772816"/>
            <a:ext cx="5256584" cy="3494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>
              <a:buClr>
                <a:srgbClr val="92D050"/>
              </a:buClr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inéztek maguknak egy belvárosi, 1 + 4 fél szobás 93 nm-es 16,8 millió Ft-os használt lakást.</a:t>
            </a: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92D050"/>
              </a:buClr>
            </a:pP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endParaRPr lang="hu-HU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Clr>
                <a:srgbClr val="92D050"/>
              </a:buClr>
              <a:buFont typeface="Wingdings" panose="05000000000000000000" pitchFamily="2" charset="2"/>
              <a:buChar char="ü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z új CSOK miatt elgondolkodnának egy 3. gyermek születésén is, már láttak is egy 90 nm-es, 2+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fél szobás 25,9 millió Ft-os ingatlant, szintén a belvárosban.</a:t>
            </a:r>
            <a:endParaRPr 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0" t="17347" r="41875" b="32117"/>
          <a:stretch/>
        </p:blipFill>
        <p:spPr bwMode="auto">
          <a:xfrm>
            <a:off x="5681370" y="1848882"/>
            <a:ext cx="2543272" cy="20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207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5775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16632"/>
            <a:ext cx="1395270" cy="339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églalap 20"/>
          <p:cNvSpPr/>
          <p:nvPr/>
        </p:nvSpPr>
        <p:spPr bwMode="gray">
          <a:xfrm>
            <a:off x="8316416" y="44625"/>
            <a:ext cx="827584" cy="861309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églalap 40"/>
          <p:cNvSpPr/>
          <p:nvPr/>
        </p:nvSpPr>
        <p:spPr bwMode="gray">
          <a:xfrm>
            <a:off x="395536" y="5949280"/>
            <a:ext cx="8280920" cy="86409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églalap 36"/>
          <p:cNvSpPr/>
          <p:nvPr/>
        </p:nvSpPr>
        <p:spPr bwMode="gray">
          <a:xfrm>
            <a:off x="395536" y="4365104"/>
            <a:ext cx="8280920" cy="1512168"/>
          </a:xfrm>
          <a:prstGeom prst="rect">
            <a:avLst/>
          </a:prstGeom>
          <a:solidFill>
            <a:srgbClr val="6ED826"/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églalap 35"/>
          <p:cNvSpPr/>
          <p:nvPr/>
        </p:nvSpPr>
        <p:spPr bwMode="gray">
          <a:xfrm>
            <a:off x="395536" y="3429001"/>
            <a:ext cx="8280920" cy="86409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églalap 34"/>
          <p:cNvSpPr/>
          <p:nvPr/>
        </p:nvSpPr>
        <p:spPr bwMode="gray">
          <a:xfrm>
            <a:off x="395536" y="2132195"/>
            <a:ext cx="8280920" cy="122479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églalap 19"/>
          <p:cNvSpPr/>
          <p:nvPr/>
        </p:nvSpPr>
        <p:spPr bwMode="gray">
          <a:xfrm>
            <a:off x="395536" y="905933"/>
            <a:ext cx="8280920" cy="11431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áblázat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526489"/>
              </p:ext>
            </p:extLst>
          </p:nvPr>
        </p:nvGraphicFramePr>
        <p:xfrm>
          <a:off x="539553" y="908721"/>
          <a:ext cx="7907063" cy="1129836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793639"/>
                <a:gridCol w="2037808"/>
                <a:gridCol w="2037808"/>
                <a:gridCol w="2037808"/>
              </a:tblGrid>
              <a:tr h="282459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hu-HU" sz="1600" b="1" dirty="0" smtClean="0"/>
                        <a:t>      Vételár</a:t>
                      </a:r>
                      <a:endParaRPr lang="hu-HU" sz="1600" b="1" dirty="0"/>
                    </a:p>
                  </a:txBody>
                  <a:tcPr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hu-H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00 000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800</a:t>
                      </a:r>
                      <a:r>
                        <a:rPr lang="hu-H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00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900 000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/>
                        <a:t>Önerő</a:t>
                      </a:r>
                      <a:endParaRPr lang="hu-HU" sz="1600" b="1" dirty="0"/>
                    </a:p>
                  </a:txBody>
                  <a:tcPr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hu-HU" sz="16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00 </a:t>
                      </a:r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70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900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/>
                        <a:t>CSOK</a:t>
                      </a:r>
                      <a:endParaRPr lang="hu-HU" sz="1600" b="1" dirty="0"/>
                    </a:p>
                  </a:txBody>
                  <a:tcPr marT="3600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0 000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00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>
                      <a:noFill/>
                    </a:lnB>
                  </a:tcPr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/>
                        <a:t>Hitel</a:t>
                      </a:r>
                      <a:endParaRPr lang="hu-HU" sz="1600" b="1" dirty="0"/>
                    </a:p>
                  </a:txBody>
                  <a:tcPr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r>
                        <a:rPr lang="hu-H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r>
                        <a:rPr lang="hu-H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r>
                        <a:rPr lang="hu-H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hu-H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30" name="Táblázat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701350"/>
              </p:ext>
            </p:extLst>
          </p:nvPr>
        </p:nvGraphicFramePr>
        <p:xfrm>
          <a:off x="539554" y="2132856"/>
          <a:ext cx="7920879" cy="118817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96342"/>
                <a:gridCol w="741124"/>
                <a:gridCol w="2023533"/>
                <a:gridCol w="2059880"/>
              </a:tblGrid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Hitel törlesztő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1 643     </a:t>
                      </a:r>
                      <a:endParaRPr lang="hu-HU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1 643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5 460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LTP megtakarítás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Béren kívüli juttatás </a:t>
                      </a:r>
                      <a:r>
                        <a:rPr lang="hu-HU" sz="1600" b="1" baseline="0" dirty="0" smtClean="0">
                          <a:latin typeface="+mn-lt"/>
                          <a:cs typeface="Arial" panose="020B0604020202020204" pitchFamily="34" charset="0"/>
                        </a:rPr>
                        <a:t>adóelőnye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 12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8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12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8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0800"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hu-HU" sz="2000" b="1" dirty="0" smtClean="0">
                          <a:latin typeface="+mn-lt"/>
                          <a:cs typeface="Arial" panose="020B0604020202020204" pitchFamily="34" charset="0"/>
                        </a:rPr>
                        <a:t>∑</a:t>
                      </a:r>
                      <a:endParaRPr lang="hu-HU" sz="20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1 643 </a:t>
                      </a:r>
                      <a:endParaRPr lang="hu-H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9 115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3 232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31" name="Táblázat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147559"/>
              </p:ext>
            </p:extLst>
          </p:nvPr>
        </p:nvGraphicFramePr>
        <p:xfrm>
          <a:off x="539553" y="3429000"/>
          <a:ext cx="7920879" cy="84737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808312"/>
                <a:gridCol w="1029154"/>
                <a:gridCol w="2023533"/>
                <a:gridCol w="2059880"/>
              </a:tblGrid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LTP szerződés</a:t>
                      </a:r>
                      <a:r>
                        <a:rPr lang="hu-HU" sz="1600" b="1" baseline="0" dirty="0" smtClean="0">
                          <a:latin typeface="+mn-lt"/>
                          <a:cs typeface="Arial" panose="020B0604020202020204" pitchFamily="34" charset="0"/>
                        </a:rPr>
                        <a:t> száma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LTP megtakarítás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 hó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 hó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>
                      <a:noFill/>
                    </a:lnB>
                  </a:tcPr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LTP felvehető összeg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400 678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 605 144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33" name="Táblázat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939493"/>
              </p:ext>
            </p:extLst>
          </p:nvPr>
        </p:nvGraphicFramePr>
        <p:xfrm>
          <a:off x="539553" y="4365104"/>
          <a:ext cx="7920879" cy="1470636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168351"/>
                <a:gridCol w="669115"/>
                <a:gridCol w="2023533"/>
                <a:gridCol w="2059880"/>
              </a:tblGrid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CSOK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u-HU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0 000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r>
                        <a:rPr lang="hu-HU" sz="16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Kamattámogatás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2 334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232 047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LTP állami támogatás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0 000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8 000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>
                          <a:latin typeface="+mn-lt"/>
                          <a:cs typeface="Arial" panose="020B0604020202020204" pitchFamily="34" charset="0"/>
                        </a:rPr>
                        <a:t>Béren kívüli juttatás </a:t>
                      </a:r>
                      <a:r>
                        <a:rPr lang="hu-HU" sz="1600" b="1" baseline="0" dirty="0" smtClean="0">
                          <a:latin typeface="+mn-lt"/>
                          <a:cs typeface="Arial" panose="020B0604020202020204" pitchFamily="34" charset="0"/>
                        </a:rPr>
                        <a:t>adóelőnye</a:t>
                      </a:r>
                      <a:endParaRPr lang="hu-H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9 365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3 </a:t>
                      </a:r>
                      <a:r>
                        <a:rPr lang="hu-H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9    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0800"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hu-HU" sz="2000" b="1" dirty="0" smtClean="0">
                          <a:latin typeface="+mn-lt"/>
                          <a:cs typeface="Arial" panose="020B0604020202020204" pitchFamily="34" charset="0"/>
                        </a:rPr>
                        <a:t>∑</a:t>
                      </a:r>
                      <a:endParaRPr lang="hu-HU" sz="20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 451 700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3 883 666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40" name="Táblázat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327872"/>
              </p:ext>
            </p:extLst>
          </p:nvPr>
        </p:nvGraphicFramePr>
        <p:xfrm>
          <a:off x="539551" y="5973856"/>
          <a:ext cx="8280920" cy="81137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639442"/>
                <a:gridCol w="1885316"/>
                <a:gridCol w="1960729"/>
                <a:gridCol w="1795433"/>
              </a:tblGrid>
              <a:tr h="28245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/>
                        <a:t>Kifutás</a:t>
                      </a:r>
                      <a:endParaRPr lang="hu-HU" sz="1600" b="1" dirty="0"/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hu-HU" sz="16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év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év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év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36000" marB="0" anchor="ctr"/>
                </a:tc>
              </a:tr>
              <a:tr h="528919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hu-HU" sz="1600" b="1" dirty="0" smtClean="0"/>
                        <a:t>A lakás teljes bekerülési költsége nominálisan</a:t>
                      </a:r>
                    </a:p>
                  </a:txBody>
                  <a:tcPr marT="360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3 994 345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817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7 263 808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817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4 772 684 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70" marR="8170" marT="8170" marB="0" anchor="ctr"/>
                </a:tc>
              </a:tr>
            </a:tbl>
          </a:graphicData>
        </a:graphic>
      </p:graphicFrame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644" y="78746"/>
            <a:ext cx="1129572" cy="61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4624"/>
            <a:ext cx="1152128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Szövegdoboz 22"/>
          <p:cNvSpPr txBox="1"/>
          <p:nvPr/>
        </p:nvSpPr>
        <p:spPr>
          <a:xfrm>
            <a:off x="2555776" y="404665"/>
            <a:ext cx="2758860" cy="497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Használt lakás</a:t>
            </a:r>
          </a:p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Támogatások nélkül</a:t>
            </a:r>
          </a:p>
        </p:txBody>
      </p:sp>
      <p:sp>
        <p:nvSpPr>
          <p:cNvPr id="18" name="Szövegdoboz 17"/>
          <p:cNvSpPr txBox="1"/>
          <p:nvPr/>
        </p:nvSpPr>
        <p:spPr>
          <a:xfrm>
            <a:off x="5004048" y="662500"/>
            <a:ext cx="1800200" cy="248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Átl.Támogatással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9" name="Szövegdoboz 18"/>
          <p:cNvSpPr txBox="1"/>
          <p:nvPr/>
        </p:nvSpPr>
        <p:spPr>
          <a:xfrm>
            <a:off x="6957392" y="662500"/>
            <a:ext cx="1997968" cy="248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Új lakás 3 gyerekkel</a:t>
            </a:r>
          </a:p>
        </p:txBody>
      </p:sp>
    </p:spTree>
    <p:extLst>
      <p:ext uri="{BB962C8B-B14F-4D97-AF65-F5344CB8AC3E}">
        <p14:creationId xmlns:p14="http://schemas.microsoft.com/office/powerpoint/2010/main" val="49183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1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37" grpId="0" animBg="1"/>
      <p:bldP spid="36" grpId="0" animBg="1"/>
      <p:bldP spid="35" grpId="0" animBg="1"/>
      <p:bldP spid="20" grpId="0" animBg="1"/>
      <p:bldP spid="23" grpId="0"/>
      <p:bldP spid="18" grpId="0"/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Jegyzetoldal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2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95536" y="908722"/>
            <a:ext cx="8496944" cy="2954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36" indent="-285736"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dóelőny a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cafetéria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esetén 34,51%-os adókulccsal számolva</a:t>
            </a:r>
          </a:p>
          <a:p>
            <a:pPr marL="285736" indent="-285736">
              <a:buFont typeface="Arial" panose="020B0604020202020204" pitchFamily="34" charset="0"/>
              <a:buChar char="•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2 gyereknél használt lakásra a kamat 6%, támogatási idő 5 év</a:t>
            </a:r>
          </a:p>
          <a:p>
            <a:pPr marL="285736" indent="-285736">
              <a:buFont typeface="Arial" panose="020B0604020202020204" pitchFamily="34" charset="0"/>
              <a:buChar char="•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3 gyereknél új lakásra a kamat 3%, a támogatási idő 25 évig tart, jelen példánál 6 évre számoltuk</a:t>
            </a:r>
          </a:p>
          <a:p>
            <a:pPr marL="285736" indent="-285736">
              <a:buFont typeface="Arial" panose="020B0604020202020204" pitchFamily="34" charset="0"/>
              <a:buChar char="•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 3. gyermek megszületésére egyébként van 10 évük.</a:t>
            </a:r>
          </a:p>
          <a:p>
            <a:pPr marL="285736" indent="-285736">
              <a:buFont typeface="Arial" panose="020B0604020202020204" pitchFamily="34" charset="0"/>
              <a:buChar char="•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Font typeface="Arial" panose="020B0604020202020204" pitchFamily="34" charset="0"/>
              <a:buChar char="•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36" indent="-285736">
              <a:buFont typeface="Arial" panose="020B0604020202020204" pitchFamily="34" charset="0"/>
              <a:buChar char="•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Hogy megéri-e a 3. gyereket bevállalni, mindenkinek magának kell eldönteni.</a:t>
            </a:r>
          </a:p>
          <a:p>
            <a:pPr marL="285736" indent="-285736">
              <a:buFont typeface="Arial" panose="020B0604020202020204" pitchFamily="34" charset="0"/>
              <a:buChar char="•"/>
            </a:pP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11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3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1043608" y="1916832"/>
            <a:ext cx="7272808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yen lakáshiteleket </a:t>
            </a:r>
            <a:r>
              <a:rPr lang="hu-H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igényelnek az emberek manapság és vajon felismerik-e a hitelekben rejlő </a:t>
            </a:r>
          </a:p>
          <a:p>
            <a:pPr algn="ctr"/>
            <a:r>
              <a:rPr lang="hu-HU" sz="3600" b="1" dirty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hu-H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matkockázatot?</a:t>
            </a:r>
            <a:endParaRPr lang="hu-HU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16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4"/>
            <a:ext cx="8178067" cy="540000"/>
          </a:xfr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1996" tIns="0" rIns="71996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6384" eaLnBrk="0" fontAlgn="base" hangingPunct="0">
              <a:spcAft>
                <a:spcPct val="0"/>
              </a:spcAft>
            </a:pPr>
            <a:r>
              <a:rPr lang="hu-HU" sz="2800" dirty="0" smtClean="0">
                <a:solidFill>
                  <a:schemeClr val="tx2"/>
                </a:solidFill>
                <a:latin typeface="+mj-lt"/>
                <a:cs typeface="+mj-cs"/>
              </a:rPr>
              <a:t>Támogatott lakáshitelek vs</a:t>
            </a:r>
            <a:r>
              <a:rPr lang="hu-HU" sz="2800" dirty="0">
                <a:solidFill>
                  <a:schemeClr val="tx2"/>
                </a:solidFill>
                <a:latin typeface="+mj-lt"/>
                <a:cs typeface="+mj-cs"/>
              </a:rPr>
              <a:t>. </a:t>
            </a:r>
            <a:r>
              <a:rPr lang="hu-HU" sz="2800" dirty="0">
                <a:solidFill>
                  <a:schemeClr val="tx2"/>
                </a:solidFill>
              </a:rPr>
              <a:t>Piaci </a:t>
            </a:r>
            <a:endParaRPr lang="hu-HU" sz="2800" dirty="0">
              <a:solidFill>
                <a:schemeClr val="tx2"/>
              </a:solidFill>
              <a:latin typeface="+mj-lt"/>
              <a:cs typeface="+mj-cs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4</a:t>
            </a:fld>
            <a:endParaRPr lang="hu-HU">
              <a:solidFill>
                <a:prstClr val="black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997286932"/>
              </p:ext>
            </p:extLst>
          </p:nvPr>
        </p:nvGraphicFramePr>
        <p:xfrm>
          <a:off x="323528" y="1124744"/>
          <a:ext cx="864096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35496" y="6623774"/>
            <a:ext cx="1404246" cy="26545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hu-HU" sz="1100" dirty="0">
                <a:latin typeface="Calibri Light" panose="020F0302020204030204" pitchFamily="34" charset="0"/>
              </a:rPr>
              <a:t>Forrás: </a:t>
            </a:r>
            <a:r>
              <a:rPr lang="hu-HU" sz="1100" dirty="0" smtClean="0">
                <a:latin typeface="Calibri Light" panose="020F0302020204030204" pitchFamily="34" charset="0"/>
              </a:rPr>
              <a:t>MNB, KSH</a:t>
            </a:r>
            <a:endParaRPr lang="hu-HU" sz="1100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46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4"/>
            <a:ext cx="8178067" cy="540000"/>
          </a:xfr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1996" tIns="0" rIns="71996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6384" eaLnBrk="0" fontAlgn="base" hangingPunct="0">
              <a:spcAft>
                <a:spcPct val="0"/>
              </a:spcAft>
            </a:pPr>
            <a:r>
              <a:rPr lang="hu-HU" sz="2800" dirty="0" smtClean="0">
                <a:solidFill>
                  <a:schemeClr val="tx2"/>
                </a:solidFill>
                <a:latin typeface="+mj-lt"/>
                <a:cs typeface="+mj-cs"/>
              </a:rPr>
              <a:t>Változó </a:t>
            </a:r>
            <a:r>
              <a:rPr lang="hu-HU" sz="2800" dirty="0">
                <a:solidFill>
                  <a:schemeClr val="tx2"/>
                </a:solidFill>
                <a:latin typeface="+mj-lt"/>
                <a:cs typeface="+mj-cs"/>
              </a:rPr>
              <a:t>kamatozású vs. </a:t>
            </a:r>
            <a:r>
              <a:rPr lang="hu-HU" sz="2800" dirty="0" smtClean="0">
                <a:solidFill>
                  <a:schemeClr val="tx2"/>
                </a:solidFill>
                <a:latin typeface="+mj-lt"/>
                <a:cs typeface="+mj-cs"/>
              </a:rPr>
              <a:t>Fix </a:t>
            </a:r>
            <a:r>
              <a:rPr lang="hu-HU" sz="2800" dirty="0">
                <a:solidFill>
                  <a:schemeClr val="tx2"/>
                </a:solidFill>
                <a:latin typeface="+mj-lt"/>
                <a:cs typeface="+mj-cs"/>
              </a:rPr>
              <a:t>kamatozású hitelek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5</a:t>
            </a:fld>
            <a:endParaRPr lang="hu-HU">
              <a:solidFill>
                <a:prstClr val="black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461230971"/>
              </p:ext>
            </p:extLst>
          </p:nvPr>
        </p:nvGraphicFramePr>
        <p:xfrm>
          <a:off x="323528" y="1124744"/>
          <a:ext cx="864096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35496" y="6623774"/>
            <a:ext cx="1404246" cy="26545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hu-HU" sz="1100" dirty="0">
                <a:latin typeface="Calibri Light" panose="020F0302020204030204" pitchFamily="34" charset="0"/>
              </a:rPr>
              <a:t>Forrás: MNB</a:t>
            </a:r>
          </a:p>
        </p:txBody>
      </p:sp>
    </p:spTree>
    <p:extLst>
      <p:ext uri="{BB962C8B-B14F-4D97-AF65-F5344CB8AC3E}">
        <p14:creationId xmlns:p14="http://schemas.microsoft.com/office/powerpoint/2010/main" val="396003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3 havi BUBOR alakulása az elmúlt több mint 15 évben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6</a:t>
            </a:fld>
            <a:endParaRPr lang="hu-HU">
              <a:solidFill>
                <a:prstClr val="black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784442669"/>
              </p:ext>
            </p:extLst>
          </p:nvPr>
        </p:nvGraphicFramePr>
        <p:xfrm>
          <a:off x="251520" y="620688"/>
          <a:ext cx="8712968" cy="5688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églalap 6"/>
          <p:cNvSpPr/>
          <p:nvPr/>
        </p:nvSpPr>
        <p:spPr bwMode="gray">
          <a:xfrm>
            <a:off x="3203848" y="540768"/>
            <a:ext cx="5328592" cy="1080120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  <a:headEnd/>
            <a:tailEnd/>
          </a:ln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2000" dirty="0"/>
              <a:t>2003.  novemberében és 2008 októberében is a forint védelme érdekében </a:t>
            </a:r>
            <a:r>
              <a:rPr lang="hu-HU" sz="2000" b="1" dirty="0"/>
              <a:t>egy nap alatt 3%-ot emeltek a jegybanki alapkamaton.</a:t>
            </a:r>
          </a:p>
        </p:txBody>
      </p:sp>
      <p:sp>
        <p:nvSpPr>
          <p:cNvPr id="8" name="Ellipszis 7"/>
          <p:cNvSpPr/>
          <p:nvPr/>
        </p:nvSpPr>
        <p:spPr bwMode="gray">
          <a:xfrm>
            <a:off x="2411761" y="1402491"/>
            <a:ext cx="576064" cy="432048"/>
          </a:xfrm>
          <a:prstGeom prst="ellipse">
            <a:avLst/>
          </a:prstGeom>
          <a:noFill/>
          <a:ln w="57150">
            <a:solidFill>
              <a:srgbClr val="FF0000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Ellipszis 8"/>
          <p:cNvSpPr/>
          <p:nvPr/>
        </p:nvSpPr>
        <p:spPr bwMode="gray">
          <a:xfrm>
            <a:off x="4788024" y="2028363"/>
            <a:ext cx="576064" cy="432048"/>
          </a:xfrm>
          <a:prstGeom prst="ellipse">
            <a:avLst/>
          </a:prstGeom>
          <a:noFill/>
          <a:ln w="57150">
            <a:solidFill>
              <a:srgbClr val="FF0000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35496" y="6623774"/>
            <a:ext cx="1404246" cy="26545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hu-HU" sz="1100" dirty="0">
                <a:latin typeface="Calibri Light" panose="020F0302020204030204" pitchFamily="34" charset="0"/>
              </a:rPr>
              <a:t>Forrás: MNB</a:t>
            </a:r>
          </a:p>
        </p:txBody>
      </p:sp>
    </p:spTree>
    <p:extLst>
      <p:ext uri="{BB962C8B-B14F-4D97-AF65-F5344CB8AC3E}">
        <p14:creationId xmlns:p14="http://schemas.microsoft.com/office/powerpoint/2010/main" val="297609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1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25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Chart bld="series"/>
        </p:bldSub>
      </p:bldGraphic>
      <p:bldP spid="7" grpId="0" animBg="1"/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17</a:t>
            </a:fld>
            <a:endParaRPr lang="hu-HU">
              <a:solidFill>
                <a:prstClr val="black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071976334"/>
              </p:ext>
            </p:extLst>
          </p:nvPr>
        </p:nvGraphicFramePr>
        <p:xfrm>
          <a:off x="467544" y="1252984"/>
          <a:ext cx="7848872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zövegdoboz 4"/>
          <p:cNvSpPr txBox="1"/>
          <p:nvPr/>
        </p:nvSpPr>
        <p:spPr>
          <a:xfrm rot="16200000">
            <a:off x="6418076" y="2951075"/>
            <a:ext cx="41044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000" dirty="0" err="1" smtClean="0">
                <a:latin typeface="Calibri" panose="020F0502020204030204" pitchFamily="34" charset="0"/>
                <a:cs typeface="Arial" panose="020B0604020202020204" pitchFamily="34" charset="0"/>
              </a:rPr>
              <a:t>Törlesztőrészlet</a:t>
            </a:r>
            <a:r>
              <a:rPr lang="hu-HU" sz="2000" dirty="0" smtClean="0">
                <a:latin typeface="Calibri" panose="020F0502020204030204" pitchFamily="34" charset="0"/>
                <a:cs typeface="Arial" panose="020B0604020202020204" pitchFamily="34" charset="0"/>
              </a:rPr>
              <a:t>  alakulása</a:t>
            </a:r>
            <a:endParaRPr lang="hu-HU" sz="20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Egyenes összekötő nyíllal 6"/>
          <p:cNvCxnSpPr/>
          <p:nvPr/>
        </p:nvCxnSpPr>
        <p:spPr>
          <a:xfrm flipV="1">
            <a:off x="8820472" y="1412776"/>
            <a:ext cx="0" cy="3312368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/>
        </p:nvCxnSpPr>
        <p:spPr>
          <a:xfrm>
            <a:off x="2195736" y="6237312"/>
            <a:ext cx="5832648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zövegdoboz 9"/>
          <p:cNvSpPr txBox="1"/>
          <p:nvPr/>
        </p:nvSpPr>
        <p:spPr>
          <a:xfrm>
            <a:off x="1691681" y="5733256"/>
            <a:ext cx="66247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000" dirty="0" smtClean="0">
                <a:latin typeface="Calibri" panose="020F0502020204030204" pitchFamily="34" charset="0"/>
                <a:cs typeface="Arial" panose="020B0604020202020204" pitchFamily="34" charset="0"/>
              </a:rPr>
              <a:t>Fizetendő kamat a BUBOR 1-1% pontos emelkedése esetén</a:t>
            </a:r>
            <a:endParaRPr lang="hu-HU" sz="20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Visszakanyarodó nyíl 18"/>
          <p:cNvSpPr/>
          <p:nvPr/>
        </p:nvSpPr>
        <p:spPr bwMode="gray">
          <a:xfrm>
            <a:off x="1937916" y="2348880"/>
            <a:ext cx="3066132" cy="1462658"/>
          </a:xfrm>
          <a:prstGeom prst="uturnArrow">
            <a:avLst>
              <a:gd name="adj1" fmla="val 2980"/>
              <a:gd name="adj2" fmla="val 8479"/>
              <a:gd name="adj3" fmla="val 10116"/>
              <a:gd name="adj4" fmla="val 336"/>
              <a:gd name="adj5" fmla="val 30609"/>
            </a:avLst>
          </a:prstGeom>
          <a:solidFill>
            <a:srgbClr val="FF0000"/>
          </a:solidFill>
          <a:ln>
            <a:solidFill>
              <a:srgbClr val="FF0000"/>
            </a:solidFill>
            <a:headEnd/>
            <a:tailEnd/>
          </a:ln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108000" bIns="72000" rtlCol="0" anchor="t" anchorCtr="0"/>
          <a:lstStyle/>
          <a:p>
            <a:pPr marL="171450" indent="-171450" algn="ctr" defTabSz="801688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Visszakanyarodó nyíl 19"/>
          <p:cNvSpPr/>
          <p:nvPr/>
        </p:nvSpPr>
        <p:spPr bwMode="gray">
          <a:xfrm>
            <a:off x="1937916" y="1196752"/>
            <a:ext cx="5874444" cy="2614786"/>
          </a:xfrm>
          <a:prstGeom prst="uturnArrow">
            <a:avLst>
              <a:gd name="adj1" fmla="val 1766"/>
              <a:gd name="adj2" fmla="val 4715"/>
              <a:gd name="adj3" fmla="val 6230"/>
              <a:gd name="adj4" fmla="val 336"/>
              <a:gd name="adj5" fmla="val 20409"/>
            </a:avLst>
          </a:prstGeom>
          <a:solidFill>
            <a:srgbClr val="FF0000"/>
          </a:solidFill>
          <a:ln>
            <a:solidFill>
              <a:srgbClr val="FF0000"/>
            </a:solidFill>
            <a:headEnd/>
            <a:tailEnd/>
          </a:ln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108000" bIns="72000" rtlCol="0" anchor="t" anchorCtr="0"/>
          <a:lstStyle/>
          <a:p>
            <a:pPr marL="171450" indent="-171450" algn="ctr" defTabSz="801688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Ellipszis 20"/>
          <p:cNvSpPr/>
          <p:nvPr/>
        </p:nvSpPr>
        <p:spPr bwMode="gray">
          <a:xfrm>
            <a:off x="2838376" y="2093579"/>
            <a:ext cx="1008112" cy="51060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  <a:headEnd/>
            <a:tailEnd/>
          </a:ln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 defTabSz="801688" eaLnBrk="0" hangingPunct="0">
              <a:spcAft>
                <a:spcPts val="800"/>
              </a:spcAft>
            </a:pPr>
            <a:r>
              <a:rPr lang="hu-H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3%</a:t>
            </a:r>
            <a:endParaRPr lang="hu-H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Ellipszis 21"/>
          <p:cNvSpPr/>
          <p:nvPr/>
        </p:nvSpPr>
        <p:spPr bwMode="gray">
          <a:xfrm>
            <a:off x="4371082" y="941451"/>
            <a:ext cx="1008112" cy="51060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  <a:headEnd/>
            <a:tailEnd/>
          </a:ln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 defTabSz="801688" eaLnBrk="0" hangingPunct="0">
              <a:spcAft>
                <a:spcPts val="800"/>
              </a:spcAft>
            </a:pPr>
            <a:r>
              <a:rPr lang="hu-H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8%</a:t>
            </a:r>
            <a:endParaRPr lang="hu-H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églalap 22"/>
          <p:cNvSpPr/>
          <p:nvPr/>
        </p:nvSpPr>
        <p:spPr bwMode="gray">
          <a:xfrm>
            <a:off x="2627784" y="4869160"/>
            <a:ext cx="5616624" cy="504056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108000" bIns="72000" rtlCol="0" anchor="t" anchorCtr="0"/>
          <a:lstStyle/>
          <a:p>
            <a:pPr marL="171450" indent="-171450" algn="ctr" defTabSz="801688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ím 1"/>
          <p:cNvSpPr txBox="1">
            <a:spLocks/>
          </p:cNvSpPr>
          <p:nvPr/>
        </p:nvSpPr>
        <p:spPr>
          <a:xfrm>
            <a:off x="156308" y="161214"/>
            <a:ext cx="8178067" cy="54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1996" tIns="0" rIns="71996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353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06384" eaLnBrk="0" fontAlgn="base" hangingPunct="0">
              <a:spcAft>
                <a:spcPct val="0"/>
              </a:spcAft>
            </a:pPr>
            <a:r>
              <a:rPr lang="hu-HU" sz="2400" dirty="0">
                <a:solidFill>
                  <a:schemeClr val="tx2"/>
                </a:solidFill>
                <a:latin typeface="+mj-lt"/>
                <a:cs typeface="+mj-cs"/>
              </a:rPr>
              <a:t>Mekkora </a:t>
            </a:r>
            <a:r>
              <a:rPr lang="hu-HU" sz="2400" dirty="0" smtClean="0">
                <a:solidFill>
                  <a:schemeClr val="tx2"/>
                </a:solidFill>
                <a:latin typeface="+mj-lt"/>
                <a:cs typeface="+mj-cs"/>
              </a:rPr>
              <a:t>részletváltozást </a:t>
            </a:r>
            <a:r>
              <a:rPr lang="hu-HU" sz="2400" dirty="0">
                <a:solidFill>
                  <a:schemeClr val="tx2"/>
                </a:solidFill>
                <a:latin typeface="+mj-lt"/>
                <a:cs typeface="+mj-cs"/>
              </a:rPr>
              <a:t>okozna a BUBOR emelkedése?</a:t>
            </a:r>
          </a:p>
        </p:txBody>
      </p:sp>
    </p:spTree>
    <p:extLst>
      <p:ext uri="{BB962C8B-B14F-4D97-AF65-F5344CB8AC3E}">
        <p14:creationId xmlns:p14="http://schemas.microsoft.com/office/powerpoint/2010/main" val="197609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4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xit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9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El"/>
        </p:bldSub>
      </p:bldGraphic>
      <p:bldP spid="5" grpId="0"/>
      <p:bldP spid="10" grpId="0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Diagram 61"/>
          <p:cNvGraphicFramePr/>
          <p:nvPr>
            <p:extLst>
              <p:ext uri="{D42A27DB-BD31-4B8C-83A1-F6EECF244321}">
                <p14:modId xmlns:p14="http://schemas.microsoft.com/office/powerpoint/2010/main" val="3987469952"/>
              </p:ext>
            </p:extLst>
          </p:nvPr>
        </p:nvGraphicFramePr>
        <p:xfrm>
          <a:off x="65874" y="1556792"/>
          <a:ext cx="907812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4" name="Téglalap 63"/>
          <p:cNvSpPr/>
          <p:nvPr/>
        </p:nvSpPr>
        <p:spPr bwMode="auto">
          <a:xfrm>
            <a:off x="7310412" y="3438505"/>
            <a:ext cx="1215135" cy="405045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vert="horz" wrap="square" lIns="64288" tIns="32144" rIns="64288" bIns="32144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hu-H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dvezményes végtörlesztés</a:t>
            </a:r>
            <a:endParaRPr lang="en-US" sz="12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1" name="Diagram 70"/>
          <p:cNvGraphicFramePr/>
          <p:nvPr>
            <p:extLst>
              <p:ext uri="{D42A27DB-BD31-4B8C-83A1-F6EECF244321}">
                <p14:modId xmlns:p14="http://schemas.microsoft.com/office/powerpoint/2010/main" val="1723090961"/>
              </p:ext>
            </p:extLst>
          </p:nvPr>
        </p:nvGraphicFramePr>
        <p:xfrm>
          <a:off x="65874" y="1507569"/>
          <a:ext cx="9078126" cy="1985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7" name="Cím 1"/>
          <p:cNvSpPr txBox="1">
            <a:spLocks/>
          </p:cNvSpPr>
          <p:nvPr/>
        </p:nvSpPr>
        <p:spPr>
          <a:xfrm>
            <a:off x="156308" y="161216"/>
            <a:ext cx="8174850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353"/>
            <a:r>
              <a:rPr lang="hu-HU" sz="2000" dirty="0">
                <a:solidFill>
                  <a:sysClr val="windowText" lastClr="000000"/>
                </a:solidFill>
              </a:rPr>
              <a:t>Lakáshitelezési és lakástámogatási trendek</a:t>
            </a:r>
          </a:p>
        </p:txBody>
      </p:sp>
      <p:cxnSp>
        <p:nvCxnSpPr>
          <p:cNvPr id="63" name="Egyenes összekötő nyíllal 62"/>
          <p:cNvCxnSpPr/>
          <p:nvPr/>
        </p:nvCxnSpPr>
        <p:spPr bwMode="auto">
          <a:xfrm flipH="1">
            <a:off x="7103068" y="3641028"/>
            <a:ext cx="202523" cy="50631"/>
          </a:xfrm>
          <a:prstGeom prst="straightConnector1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Egyenes összekötő nyíllal 64"/>
          <p:cNvCxnSpPr/>
          <p:nvPr/>
        </p:nvCxnSpPr>
        <p:spPr bwMode="auto">
          <a:xfrm>
            <a:off x="5224188" y="2064184"/>
            <a:ext cx="1436045" cy="2660961"/>
          </a:xfrm>
          <a:prstGeom prst="straightConnector1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Téglalap 65"/>
          <p:cNvSpPr/>
          <p:nvPr/>
        </p:nvSpPr>
        <p:spPr bwMode="auto">
          <a:xfrm>
            <a:off x="734633" y="1906312"/>
            <a:ext cx="1581480" cy="450056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vert="horz" wrap="square" lIns="64288" tIns="32144" rIns="64288" bIns="32144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hu-H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ámogatott hitelek jelentős szigorítása</a:t>
            </a:r>
            <a:endParaRPr lang="en-US" sz="12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Egyenes összekötő nyíllal 66"/>
          <p:cNvCxnSpPr/>
          <p:nvPr/>
        </p:nvCxnSpPr>
        <p:spPr bwMode="auto">
          <a:xfrm>
            <a:off x="2316113" y="2137010"/>
            <a:ext cx="296742" cy="571911"/>
          </a:xfrm>
          <a:prstGeom prst="straightConnector1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Téglalap 67"/>
          <p:cNvSpPr/>
          <p:nvPr/>
        </p:nvSpPr>
        <p:spPr bwMode="auto">
          <a:xfrm>
            <a:off x="3923928" y="1844824"/>
            <a:ext cx="1300258" cy="438718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vert="horz" wrap="square" lIns="64288" tIns="32144" rIns="64288" bIns="32144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hu-H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rvény tiltja a deviza hitel</a:t>
            </a:r>
            <a:endParaRPr lang="en-US" sz="12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Box 38"/>
          <p:cNvSpPr txBox="1">
            <a:spLocks noChangeArrowheads="1"/>
          </p:cNvSpPr>
          <p:nvPr/>
        </p:nvSpPr>
        <p:spPr bwMode="auto">
          <a:xfrm>
            <a:off x="899593" y="836712"/>
            <a:ext cx="7776864" cy="670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lvl="0" indent="0" algn="just" eaLnBrk="0" hangingPunct="0">
              <a:spcAft>
                <a:spcPts val="1800"/>
              </a:spcAft>
              <a:buClr>
                <a:srgbClr val="59B23F"/>
              </a:buClr>
              <a:buSzPct val="125000"/>
              <a:buFont typeface="DIN Next W1G Light" charset="0"/>
              <a:buNone/>
              <a:defRPr sz="28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1pPr>
            <a:lvl2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2pPr>
            <a:lvl3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3pPr>
            <a:lvl4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4pPr>
            <a:lvl5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5pPr>
            <a:lvl6pPr marL="6477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6pPr>
            <a:lvl7pPr marL="11049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7pPr>
            <a:lvl8pPr marL="15621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8pPr>
            <a:lvl9pPr marL="20193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42882" fontAlgn="base">
              <a:spcBef>
                <a:spcPct val="0"/>
              </a:spcBef>
            </a:pP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" charset="0"/>
              </a:rPr>
              <a:t>Háztartásoknak nyújtott </a:t>
            </a:r>
            <a:r>
              <a:rPr lang="hu-HU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" charset="0"/>
              </a:rPr>
              <a:t>lakáscélú hitelek havi szerződéses összegének alakulása devizabontásban </a:t>
            </a: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" charset="0"/>
              </a:rPr>
              <a:t>(Mrd Ft)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35496" y="6623774"/>
            <a:ext cx="1404246" cy="26545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hu-HU" sz="1100" dirty="0">
                <a:latin typeface="Calibri Light" panose="020F0302020204030204" pitchFamily="34" charset="0"/>
              </a:rPr>
              <a:t>Forrás: MNB</a:t>
            </a:r>
          </a:p>
        </p:txBody>
      </p:sp>
      <p:graphicFrame>
        <p:nvGraphicFramePr>
          <p:cNvPr id="81" name="Diagram 80"/>
          <p:cNvGraphicFramePr/>
          <p:nvPr>
            <p:extLst>
              <p:ext uri="{D42A27DB-BD31-4B8C-83A1-F6EECF244321}">
                <p14:modId xmlns:p14="http://schemas.microsoft.com/office/powerpoint/2010/main" val="838453247"/>
              </p:ext>
            </p:extLst>
          </p:nvPr>
        </p:nvGraphicFramePr>
        <p:xfrm>
          <a:off x="132550" y="3717032"/>
          <a:ext cx="8975953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2" name="Szövegdoboz 81"/>
          <p:cNvSpPr txBox="1"/>
          <p:nvPr/>
        </p:nvSpPr>
        <p:spPr>
          <a:xfrm>
            <a:off x="7884368" y="6337895"/>
            <a:ext cx="115212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12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előirányzat</a:t>
            </a:r>
            <a:endParaRPr lang="hu-HU" sz="1200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83" name="Szövegdoboz 82"/>
          <p:cNvSpPr txBox="1"/>
          <p:nvPr/>
        </p:nvSpPr>
        <p:spPr>
          <a:xfrm>
            <a:off x="967514" y="6623778"/>
            <a:ext cx="5044646" cy="26160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>
            <a:defPPr>
              <a:defRPr lang="hu-HU"/>
            </a:defPPr>
            <a:lvl1pPr>
              <a:defRPr sz="1100">
                <a:latin typeface="Calibri Light" panose="020F0302020204030204" pitchFamily="34" charset="0"/>
              </a:defRPr>
            </a:lvl1pPr>
          </a:lstStyle>
          <a:p>
            <a:r>
              <a:rPr lang="hu-HU" dirty="0"/>
              <a:t>*Forrás: </a:t>
            </a:r>
            <a:r>
              <a:rPr lang="hu-HU" dirty="0" err="1"/>
              <a:t>www.parlament.hu</a:t>
            </a:r>
            <a:r>
              <a:rPr lang="hu-HU" dirty="0"/>
              <a:t>, KSH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56808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3000"/>
                                        <p:tgtEl>
                                          <p:spTgt spid="6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3000"/>
                                        <p:tgtEl>
                                          <p:spTgt spid="6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3000"/>
                                        <p:tgtEl>
                                          <p:spTgt spid="62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62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6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6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6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8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200" fill="hold"/>
                                        <p:tgtEl>
                                          <p:spTgt spid="81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200" fill="hold"/>
                                        <p:tgtEl>
                                          <p:spTgt spid="81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200" fill="hold"/>
                                        <p:tgtEl>
                                          <p:spTgt spid="81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200" fill="hold"/>
                                        <p:tgtEl>
                                          <p:spTgt spid="81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200" fill="hold"/>
                                        <p:tgtEl>
                                          <p:spTgt spid="81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200" fill="hold"/>
                                        <p:tgtEl>
                                          <p:spTgt spid="81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200" fill="hold"/>
                                        <p:tgtEl>
                                          <p:spTgt spid="81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200" fill="hold"/>
                                        <p:tgtEl>
                                          <p:spTgt spid="81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200" fill="hold"/>
                                        <p:tgtEl>
                                          <p:spTgt spid="81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200" fill="hold"/>
                                        <p:tgtEl>
                                          <p:spTgt spid="81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200" fill="hold"/>
                                        <p:tgtEl>
                                          <p:spTgt spid="81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200" fill="hold"/>
                                        <p:tgtEl>
                                          <p:spTgt spid="81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200" fill="hold"/>
                                        <p:tgtEl>
                                          <p:spTgt spid="81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200" fill="hold"/>
                                        <p:tgtEl>
                                          <p:spTgt spid="81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200" fill="hold"/>
                                        <p:tgtEl>
                                          <p:spTgt spid="81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200" fill="hold"/>
                                        <p:tgtEl>
                                          <p:spTgt spid="81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8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200" fill="hold"/>
                                        <p:tgtEl>
                                          <p:spTgt spid="81">
                                            <p:graphicEl>
                                              <a:chart seriesIdx="0" categoryIdx="8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200" fill="hold"/>
                                        <p:tgtEl>
                                          <p:spTgt spid="81">
                                            <p:graphicEl>
                                              <a:chart seriesIdx="0" categoryIdx="8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9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200" fill="hold"/>
                                        <p:tgtEl>
                                          <p:spTgt spid="81">
                                            <p:graphicEl>
                                              <a:chart seriesIdx="0" categoryIdx="9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200" fill="hold"/>
                                        <p:tgtEl>
                                          <p:spTgt spid="81">
                                            <p:graphicEl>
                                              <a:chart seriesIdx="0" categoryIdx="9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200" fill="hold"/>
                                        <p:tgtEl>
                                          <p:spTgt spid="81">
                                            <p:graphicEl>
                                              <a:chart seriesIdx="0" categoryIdx="1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200" fill="hold"/>
                                        <p:tgtEl>
                                          <p:spTgt spid="81">
                                            <p:graphicEl>
                                              <a:chart seriesIdx="0" categoryIdx="1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200" fill="hold"/>
                                        <p:tgtEl>
                                          <p:spTgt spid="81">
                                            <p:graphicEl>
                                              <a:chart seriesIdx="0" categoryIdx="1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200" fill="hold"/>
                                        <p:tgtEl>
                                          <p:spTgt spid="81">
                                            <p:graphicEl>
                                              <a:chart seriesIdx="0" categoryIdx="1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200" fill="hold"/>
                                        <p:tgtEl>
                                          <p:spTgt spid="81">
                                            <p:graphicEl>
                                              <a:chart seriesIdx="0" categoryIdx="1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200" fill="hold"/>
                                        <p:tgtEl>
                                          <p:spTgt spid="81">
                                            <p:graphicEl>
                                              <a:chart seriesIdx="0" categoryIdx="1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200" fill="hold"/>
                                        <p:tgtEl>
                                          <p:spTgt spid="81">
                                            <p:graphicEl>
                                              <a:chart seriesIdx="0" categoryIdx="1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200" fill="hold"/>
                                        <p:tgtEl>
                                          <p:spTgt spid="81">
                                            <p:graphicEl>
                                              <a:chart seriesIdx="0" categoryIdx="1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200" fill="hold"/>
                                        <p:tgtEl>
                                          <p:spTgt spid="81">
                                            <p:graphicEl>
                                              <a:chart seriesIdx="0" categoryIdx="1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200" fill="hold"/>
                                        <p:tgtEl>
                                          <p:spTgt spid="81">
                                            <p:graphicEl>
                                              <a:chart seriesIdx="0" categoryIdx="1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2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" presetClass="entr" presetSubtype="4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graphicEl>
                                              <a:chart seriesIdx="0" categoryIdx="1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200" fill="hold"/>
                                        <p:tgtEl>
                                          <p:spTgt spid="81">
                                            <p:graphicEl>
                                              <a:chart seriesIdx="0" categoryIdx="1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200" fill="hold"/>
                                        <p:tgtEl>
                                          <p:spTgt spid="81">
                                            <p:graphicEl>
                                              <a:chart seriesIdx="0" categoryIdx="1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2" grpId="0">
        <p:bldSub>
          <a:bldChart bld="series"/>
        </p:bldSub>
      </p:bldGraphic>
      <p:bldGraphic spid="62" grpId="1" uiExpand="1">
        <p:bldSub>
          <a:bldChart bld="series"/>
        </p:bldSub>
      </p:bldGraphic>
      <p:bldP spid="64" grpId="0" animBg="1"/>
      <p:bldP spid="64" grpId="1" animBg="1"/>
      <p:bldGraphic spid="71" grpId="0">
        <p:bldAsOne/>
      </p:bldGraphic>
      <p:bldP spid="66" grpId="0" animBg="1"/>
      <p:bldP spid="66" grpId="1" animBg="1"/>
      <p:bldP spid="68" grpId="0" animBg="1"/>
      <p:bldP spid="68" grpId="1" animBg="1"/>
      <p:bldP spid="69" grpId="0"/>
      <p:bldGraphic spid="81" grpId="0" uiExpand="1">
        <p:bldSub>
          <a:bldChart bld="seriesEl"/>
        </p:bldSub>
      </p:bldGraphic>
      <p:bldP spid="82" grpId="0"/>
      <p:bldP spid="8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Diagram 53"/>
          <p:cNvGraphicFramePr/>
          <p:nvPr>
            <p:extLst>
              <p:ext uri="{D42A27DB-BD31-4B8C-83A1-F6EECF244321}">
                <p14:modId xmlns:p14="http://schemas.microsoft.com/office/powerpoint/2010/main" val="2957329257"/>
              </p:ext>
            </p:extLst>
          </p:nvPr>
        </p:nvGraphicFramePr>
        <p:xfrm>
          <a:off x="65874" y="1507569"/>
          <a:ext cx="9078126" cy="1985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8" name="Szövegdoboz 37"/>
          <p:cNvSpPr txBox="1"/>
          <p:nvPr/>
        </p:nvSpPr>
        <p:spPr>
          <a:xfrm>
            <a:off x="3191779" y="3783415"/>
            <a:ext cx="519502" cy="281327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5</a:t>
            </a:r>
          </a:p>
        </p:txBody>
      </p:sp>
      <p:cxnSp>
        <p:nvCxnSpPr>
          <p:cNvPr id="72" name="Egyenes összekötő 71"/>
          <p:cNvCxnSpPr/>
          <p:nvPr/>
        </p:nvCxnSpPr>
        <p:spPr bwMode="auto">
          <a:xfrm>
            <a:off x="8748464" y="3654000"/>
            <a:ext cx="144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Szövegdoboz 46"/>
          <p:cNvSpPr txBox="1"/>
          <p:nvPr/>
        </p:nvSpPr>
        <p:spPr>
          <a:xfrm>
            <a:off x="5470157" y="3783415"/>
            <a:ext cx="519502" cy="281327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9</a:t>
            </a:r>
          </a:p>
        </p:txBody>
      </p:sp>
      <p:sp>
        <p:nvSpPr>
          <p:cNvPr id="51" name="Szövegdoboz 50"/>
          <p:cNvSpPr txBox="1"/>
          <p:nvPr/>
        </p:nvSpPr>
        <p:spPr>
          <a:xfrm>
            <a:off x="6749119" y="3727475"/>
            <a:ext cx="620763" cy="281327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12</a:t>
            </a:r>
          </a:p>
        </p:txBody>
      </p:sp>
      <p:sp>
        <p:nvSpPr>
          <p:cNvPr id="35" name="Szövegdoboz 34"/>
          <p:cNvSpPr txBox="1"/>
          <p:nvPr/>
        </p:nvSpPr>
        <p:spPr>
          <a:xfrm>
            <a:off x="2612855" y="3783414"/>
            <a:ext cx="4839465" cy="2835315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1.01.3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Új jogszabályba emelik, de marad „LÉK”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 err="1">
                <a:solidFill>
                  <a:srgbClr val="000000"/>
                </a:solidFill>
                <a:sym typeface="Gill Sans" charset="0"/>
              </a:rPr>
              <a:t>Félszocpol</a:t>
            </a: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 bővítés mellé </a:t>
            </a:r>
            <a:r>
              <a:rPr lang="hu-HU" sz="2000" b="1" u="sng" dirty="0">
                <a:solidFill>
                  <a:srgbClr val="000000"/>
                </a:solidFill>
                <a:sym typeface="Gill Sans" charset="0"/>
              </a:rPr>
              <a:t>használt lakás vásárlásra is </a:t>
            </a: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 (csak nagycsaládosoknak nagyobb használt lakás „cseréjéhez”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12/2001. (1.31) Korm. rendelet 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50" name="Szövegdoboz 49"/>
          <p:cNvSpPr txBox="1"/>
          <p:nvPr/>
        </p:nvSpPr>
        <p:spPr>
          <a:xfrm>
            <a:off x="2344252" y="4137830"/>
            <a:ext cx="5417477" cy="1819846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5.02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FOT – Fiatalok Otthonteremtési Támogatá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Használt lakás vásárlásra már 1 gyerektő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12/2001. (1.31) Korm. rendelet 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22" name="Szövegdoboz 21"/>
          <p:cNvSpPr txBox="1"/>
          <p:nvPr/>
        </p:nvSpPr>
        <p:spPr>
          <a:xfrm>
            <a:off x="2990836" y="4188461"/>
            <a:ext cx="3403866" cy="1870476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1990.02.01-94.11.07 között </a:t>
            </a:r>
            <a:r>
              <a:rPr lang="hu-HU" sz="2000" b="1" dirty="0" err="1">
                <a:solidFill>
                  <a:srgbClr val="000000"/>
                </a:solidFill>
                <a:sym typeface="Gill Sans" charset="0"/>
              </a:rPr>
              <a:t>félszocpol</a:t>
            </a: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 bővítésre a nagycsaládosok részére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u="sng" dirty="0">
              <a:solidFill>
                <a:srgbClr val="000000"/>
              </a:solidFill>
              <a:sym typeface="Gill Sans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106/1988 MT rendelet</a:t>
            </a:r>
            <a:endParaRPr lang="hu-HU" altLang="hu-HU" sz="17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2850559" y="4191317"/>
            <a:ext cx="3403866" cy="1870476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106/1988. (XII. 26.) MT rendelet a lakáscélú támogatásokról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u="sng" dirty="0">
              <a:solidFill>
                <a:srgbClr val="000000"/>
              </a:solidFill>
              <a:sym typeface="Gill Sans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„SZOCPOL”  </a:t>
            </a:r>
            <a:r>
              <a:rPr lang="hu-HU" altLang="hu-HU" sz="1700" dirty="0">
                <a:solidFill>
                  <a:srgbClr val="000000"/>
                </a:solidFill>
                <a:sym typeface="Gill Sans" charset="0"/>
              </a:rPr>
              <a:t>új lakás építéséhez / vásárlásához</a:t>
            </a:r>
          </a:p>
        </p:txBody>
      </p:sp>
      <p:sp>
        <p:nvSpPr>
          <p:cNvPr id="28" name="Szövegdoboz 27"/>
          <p:cNvSpPr txBox="1"/>
          <p:nvPr/>
        </p:nvSpPr>
        <p:spPr>
          <a:xfrm>
            <a:off x="2799928" y="4188459"/>
            <a:ext cx="4050450" cy="2430270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0.02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Új nevet kap: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Lakásépítési Kedvezmény – LÉ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 err="1">
                <a:solidFill>
                  <a:srgbClr val="000000"/>
                </a:solidFill>
                <a:sym typeface="Gill Sans" charset="0"/>
              </a:rPr>
              <a:t>Félszocpol</a:t>
            </a: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 bővítésre ismét, nem csak a nagycsaládosokna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u="sng" dirty="0">
              <a:solidFill>
                <a:srgbClr val="000000"/>
              </a:solidFill>
              <a:sym typeface="Gill Sans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106/1988 MT rendelet</a:t>
            </a:r>
            <a:endParaRPr lang="hu-HU" altLang="hu-HU" sz="17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44" name="Szövegdoboz 43"/>
          <p:cNvSpPr txBox="1"/>
          <p:nvPr/>
        </p:nvSpPr>
        <p:spPr>
          <a:xfrm>
            <a:off x="3828165" y="3783415"/>
            <a:ext cx="2819692" cy="1516878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9.07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alt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2000" b="1" dirty="0">
                <a:solidFill>
                  <a:srgbClr val="000000"/>
                </a:solidFill>
                <a:sym typeface="Gill Sans" charset="0"/>
              </a:rPr>
              <a:t>Támogatások megszüntetése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55" name="Szövegdoboz 54"/>
          <p:cNvSpPr txBox="1"/>
          <p:nvPr/>
        </p:nvSpPr>
        <p:spPr>
          <a:xfrm>
            <a:off x="2856455" y="4087200"/>
            <a:ext cx="4702753" cy="1822703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12.01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LÉT – Lakás Építési Támogatá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Kizárólag új lakás építése / vásárlás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256/2011. (XII.6.) Korm. rendelet 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60" name="Szövegdoboz 59"/>
          <p:cNvSpPr txBox="1"/>
          <p:nvPr/>
        </p:nvSpPr>
        <p:spPr>
          <a:xfrm>
            <a:off x="2293622" y="4036569"/>
            <a:ext cx="5670630" cy="1822703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15.07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Új név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CSOK – Családok Otthonteremtési Kedvezmény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Használt lakás vásárlásra i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256/2011. (XII.6.) Korm. rendelet 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cxnSp>
        <p:nvCxnSpPr>
          <p:cNvPr id="56" name="Egyenes összekötő 55"/>
          <p:cNvCxnSpPr/>
          <p:nvPr/>
        </p:nvCxnSpPr>
        <p:spPr bwMode="auto">
          <a:xfrm>
            <a:off x="7002271" y="3653979"/>
            <a:ext cx="1692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Egyenes összekötő 52"/>
          <p:cNvCxnSpPr/>
          <p:nvPr/>
        </p:nvCxnSpPr>
        <p:spPr bwMode="auto">
          <a:xfrm>
            <a:off x="5692046" y="3653979"/>
            <a:ext cx="1290938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Egyenes összekötő 44"/>
          <p:cNvCxnSpPr/>
          <p:nvPr/>
        </p:nvCxnSpPr>
        <p:spPr bwMode="auto">
          <a:xfrm>
            <a:off x="3407497" y="3653979"/>
            <a:ext cx="2252813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Egyenes összekötő 35"/>
          <p:cNvCxnSpPr/>
          <p:nvPr/>
        </p:nvCxnSpPr>
        <p:spPr bwMode="auto">
          <a:xfrm>
            <a:off x="2445514" y="3653979"/>
            <a:ext cx="91125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Egyenes összekötő 31"/>
          <p:cNvCxnSpPr/>
          <p:nvPr/>
        </p:nvCxnSpPr>
        <p:spPr bwMode="auto">
          <a:xfrm>
            <a:off x="1989840" y="3653979"/>
            <a:ext cx="430313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Egyenes összekötő 28"/>
          <p:cNvCxnSpPr/>
          <p:nvPr/>
        </p:nvCxnSpPr>
        <p:spPr bwMode="auto">
          <a:xfrm>
            <a:off x="1357020" y="3653979"/>
            <a:ext cx="582188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Egyenes összekötő 25"/>
          <p:cNvCxnSpPr/>
          <p:nvPr/>
        </p:nvCxnSpPr>
        <p:spPr bwMode="auto">
          <a:xfrm>
            <a:off x="724072" y="3653979"/>
            <a:ext cx="582188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Szövegdoboz 15"/>
          <p:cNvSpPr txBox="1"/>
          <p:nvPr/>
        </p:nvSpPr>
        <p:spPr>
          <a:xfrm>
            <a:off x="15244" y="3777697"/>
            <a:ext cx="607568" cy="281327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1988</a:t>
            </a:r>
          </a:p>
        </p:txBody>
      </p:sp>
      <p:cxnSp>
        <p:nvCxnSpPr>
          <p:cNvPr id="18" name="Egyenes összekötő 17"/>
          <p:cNvCxnSpPr/>
          <p:nvPr/>
        </p:nvCxnSpPr>
        <p:spPr bwMode="auto">
          <a:xfrm>
            <a:off x="268398" y="3653979"/>
            <a:ext cx="405045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Ellipszis 19"/>
          <p:cNvSpPr/>
          <p:nvPr/>
        </p:nvSpPr>
        <p:spPr bwMode="auto">
          <a:xfrm>
            <a:off x="268397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23" name="Ellipszis 22"/>
          <p:cNvSpPr/>
          <p:nvPr/>
        </p:nvSpPr>
        <p:spPr bwMode="auto">
          <a:xfrm>
            <a:off x="661099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25" name="Szövegdoboz 24"/>
          <p:cNvSpPr txBox="1"/>
          <p:nvPr/>
        </p:nvSpPr>
        <p:spPr>
          <a:xfrm>
            <a:off x="521551" y="3783415"/>
            <a:ext cx="1039004" cy="281327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1990-1994</a:t>
            </a:r>
          </a:p>
        </p:txBody>
      </p:sp>
      <p:sp>
        <p:nvSpPr>
          <p:cNvPr id="27" name="Ellipszis 26"/>
          <p:cNvSpPr/>
          <p:nvPr/>
        </p:nvSpPr>
        <p:spPr bwMode="auto">
          <a:xfrm>
            <a:off x="1268667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0" name="Ellipszis 29"/>
          <p:cNvSpPr/>
          <p:nvPr/>
        </p:nvSpPr>
        <p:spPr bwMode="auto">
          <a:xfrm>
            <a:off x="1876234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1" name="Szövegdoboz 30"/>
          <p:cNvSpPr txBox="1"/>
          <p:nvPr/>
        </p:nvSpPr>
        <p:spPr>
          <a:xfrm>
            <a:off x="1635425" y="3777697"/>
            <a:ext cx="519502" cy="281327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0</a:t>
            </a:r>
          </a:p>
        </p:txBody>
      </p:sp>
      <p:sp>
        <p:nvSpPr>
          <p:cNvPr id="33" name="Ellipszis 32"/>
          <p:cNvSpPr/>
          <p:nvPr/>
        </p:nvSpPr>
        <p:spPr bwMode="auto">
          <a:xfrm>
            <a:off x="2344252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4" name="Szövegdoboz 33"/>
          <p:cNvSpPr txBox="1"/>
          <p:nvPr/>
        </p:nvSpPr>
        <p:spPr>
          <a:xfrm>
            <a:off x="2179165" y="3783415"/>
            <a:ext cx="519502" cy="281327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1</a:t>
            </a:r>
          </a:p>
        </p:txBody>
      </p:sp>
      <p:sp>
        <p:nvSpPr>
          <p:cNvPr id="37" name="Ellipszis 36"/>
          <p:cNvSpPr/>
          <p:nvPr/>
        </p:nvSpPr>
        <p:spPr bwMode="auto">
          <a:xfrm>
            <a:off x="3356865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46" name="Ellipszis 45"/>
          <p:cNvSpPr/>
          <p:nvPr/>
        </p:nvSpPr>
        <p:spPr bwMode="auto">
          <a:xfrm>
            <a:off x="5635243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52" name="Ellipszis 51"/>
          <p:cNvSpPr/>
          <p:nvPr/>
        </p:nvSpPr>
        <p:spPr bwMode="auto">
          <a:xfrm>
            <a:off x="6951639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58" name="Ellipszis 57"/>
          <p:cNvSpPr/>
          <p:nvPr/>
        </p:nvSpPr>
        <p:spPr bwMode="auto">
          <a:xfrm>
            <a:off x="8676456" y="3580892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59" name="Szövegdoboz 58"/>
          <p:cNvSpPr txBox="1"/>
          <p:nvPr/>
        </p:nvSpPr>
        <p:spPr>
          <a:xfrm>
            <a:off x="8100393" y="3741359"/>
            <a:ext cx="620763" cy="281327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15</a:t>
            </a:r>
          </a:p>
        </p:txBody>
      </p:sp>
      <p:grpSp>
        <p:nvGrpSpPr>
          <p:cNvPr id="39" name="Csoportba foglalás 38"/>
          <p:cNvGrpSpPr/>
          <p:nvPr/>
        </p:nvGrpSpPr>
        <p:grpSpPr>
          <a:xfrm>
            <a:off x="3940510" y="4191318"/>
            <a:ext cx="2102443" cy="1465432"/>
            <a:chOff x="6172804" y="6676883"/>
            <a:chExt cx="1044797" cy="1022637"/>
          </a:xfrm>
        </p:grpSpPr>
        <p:sp>
          <p:nvSpPr>
            <p:cNvPr id="40" name="Ellipszis 39"/>
            <p:cNvSpPr/>
            <p:nvPr/>
          </p:nvSpPr>
          <p:spPr bwMode="auto">
            <a:xfrm>
              <a:off x="6172804" y="6676883"/>
              <a:ext cx="1044797" cy="1022637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2849" fontAlgn="base">
                <a:spcBef>
                  <a:spcPct val="0"/>
                </a:spcBef>
                <a:spcAft>
                  <a:spcPct val="0"/>
                </a:spcAft>
              </a:pPr>
              <a:endParaRPr lang="hu-HU" sz="2500">
                <a:solidFill>
                  <a:srgbClr val="000000"/>
                </a:solidFill>
                <a:sym typeface="Gill Sans" charset="0"/>
              </a:endParaRPr>
            </a:p>
          </p:txBody>
        </p:sp>
        <p:sp>
          <p:nvSpPr>
            <p:cNvPr id="41" name="Szövegdoboz 40"/>
            <p:cNvSpPr txBox="1"/>
            <p:nvPr/>
          </p:nvSpPr>
          <p:spPr>
            <a:xfrm>
              <a:off x="6180493" y="6922213"/>
              <a:ext cx="1037108" cy="5369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hu-HU" sz="2200" b="1" dirty="0">
                  <a:solidFill>
                    <a:srgbClr val="000000"/>
                  </a:solidFill>
                  <a:sym typeface="Gill Sans" charset="0"/>
                </a:rPr>
                <a:t>66-szor módosítva</a:t>
              </a:r>
            </a:p>
          </p:txBody>
        </p:sp>
      </p:grpSp>
      <p:sp>
        <p:nvSpPr>
          <p:cNvPr id="57" name="Cím 1"/>
          <p:cNvSpPr txBox="1">
            <a:spLocks/>
          </p:cNvSpPr>
          <p:nvPr/>
        </p:nvSpPr>
        <p:spPr>
          <a:xfrm>
            <a:off x="156308" y="161216"/>
            <a:ext cx="8174850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353"/>
            <a:r>
              <a:rPr lang="hu-HU" sz="2000" dirty="0">
                <a:solidFill>
                  <a:sysClr val="windowText" lastClr="000000"/>
                </a:solidFill>
              </a:rPr>
              <a:t>Lakáshitelezési és lakástámogatási trendek</a:t>
            </a:r>
          </a:p>
        </p:txBody>
      </p:sp>
      <p:sp>
        <p:nvSpPr>
          <p:cNvPr id="69" name="Text Box 38"/>
          <p:cNvSpPr txBox="1">
            <a:spLocks noChangeArrowheads="1"/>
          </p:cNvSpPr>
          <p:nvPr/>
        </p:nvSpPr>
        <p:spPr bwMode="auto">
          <a:xfrm>
            <a:off x="899593" y="836712"/>
            <a:ext cx="7776864" cy="670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11" tIns="35711" rIns="35711" bIns="3571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lvl="0" indent="0" algn="just" eaLnBrk="0" hangingPunct="0">
              <a:spcAft>
                <a:spcPts val="1800"/>
              </a:spcAft>
              <a:buClr>
                <a:srgbClr val="59B23F"/>
              </a:buClr>
              <a:buSzPct val="125000"/>
              <a:buFont typeface="DIN Next W1G Light" charset="0"/>
              <a:buNone/>
              <a:defRPr sz="28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1pPr>
            <a:lvl2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2pPr>
            <a:lvl3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3pPr>
            <a:lvl4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4pPr>
            <a:lvl5pPr marL="190500" indent="-190500" eaLnBrk="0" hangingPunct="0"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5pPr>
            <a:lvl6pPr marL="6477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6pPr>
            <a:lvl7pPr marL="11049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7pPr>
            <a:lvl8pPr marL="15621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8pPr>
            <a:lvl9pPr marL="2019300" indent="-190500" defTabSz="914400" fontAlgn="base">
              <a:spcBef>
                <a:spcPct val="0"/>
              </a:spcBef>
              <a:spcAft>
                <a:spcPct val="0"/>
              </a:spcAft>
              <a:buClr>
                <a:srgbClr val="59B23F"/>
              </a:buClr>
              <a:buSzPct val="125000"/>
              <a:buFont typeface="DIN Next W1G Light" charset="0"/>
              <a:buChar char="•"/>
              <a:defRPr sz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42882" fontAlgn="base">
              <a:spcBef>
                <a:spcPct val="0"/>
              </a:spcBef>
            </a:pP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" charset="0"/>
              </a:rPr>
              <a:t>Háztartásoknak nyújtott </a:t>
            </a:r>
            <a:r>
              <a:rPr lang="hu-HU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" charset="0"/>
              </a:rPr>
              <a:t>lakáscélú hitelek havi szerződéses összegének alakulása devizabontásban </a:t>
            </a:r>
            <a:r>
              <a:rPr lang="hu-H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" charset="0"/>
              </a:rPr>
              <a:t>(Mrd Ft)</a:t>
            </a:r>
          </a:p>
        </p:txBody>
      </p:sp>
      <p:sp>
        <p:nvSpPr>
          <p:cNvPr id="73" name="Ellipszis 72"/>
          <p:cNvSpPr/>
          <p:nvPr/>
        </p:nvSpPr>
        <p:spPr bwMode="auto">
          <a:xfrm>
            <a:off x="8893944" y="3582000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74" name="Szövegdoboz 73"/>
          <p:cNvSpPr txBox="1"/>
          <p:nvPr/>
        </p:nvSpPr>
        <p:spPr>
          <a:xfrm>
            <a:off x="8671678" y="3741359"/>
            <a:ext cx="620763" cy="281327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16</a:t>
            </a:r>
          </a:p>
        </p:txBody>
      </p:sp>
      <p:sp>
        <p:nvSpPr>
          <p:cNvPr id="75" name="Szövegdoboz 74"/>
          <p:cNvSpPr txBox="1"/>
          <p:nvPr/>
        </p:nvSpPr>
        <p:spPr>
          <a:xfrm>
            <a:off x="2316113" y="4059025"/>
            <a:ext cx="5670630" cy="1822703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16.01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CSOK 10 + </a:t>
            </a:r>
            <a:r>
              <a:rPr lang="hu-HU" sz="2000" b="1" dirty="0" err="1">
                <a:solidFill>
                  <a:srgbClr val="000000"/>
                </a:solidFill>
                <a:sym typeface="Gill Sans" charset="0"/>
              </a:rPr>
              <a:t>10</a:t>
            </a: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 millió 3 gyerekeseknek új lakásr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5 millió Ft-ig ÁFA visszatéríté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Emelkedő támogatási összege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16/2016.(II.10.) Korm. rendelet 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5496" y="6623774"/>
            <a:ext cx="1404246" cy="26545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hu-HU" sz="1100" dirty="0">
                <a:latin typeface="Calibri Light" panose="020F0302020204030204" pitchFamily="34" charset="0"/>
              </a:rPr>
              <a:t>Forrás: MNB</a:t>
            </a:r>
          </a:p>
        </p:txBody>
      </p:sp>
      <p:sp>
        <p:nvSpPr>
          <p:cNvPr id="118" name="Szövegdoboz 117"/>
          <p:cNvSpPr txBox="1"/>
          <p:nvPr/>
        </p:nvSpPr>
        <p:spPr>
          <a:xfrm>
            <a:off x="6749119" y="5392462"/>
            <a:ext cx="620763" cy="281327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12</a:t>
            </a:r>
          </a:p>
        </p:txBody>
      </p:sp>
      <p:sp>
        <p:nvSpPr>
          <p:cNvPr id="119" name="Szövegdoboz 118"/>
          <p:cNvSpPr txBox="1"/>
          <p:nvPr/>
        </p:nvSpPr>
        <p:spPr>
          <a:xfrm>
            <a:off x="5017568" y="5448402"/>
            <a:ext cx="649998" cy="495799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 smtClean="0">
                <a:solidFill>
                  <a:srgbClr val="000000"/>
                </a:solidFill>
                <a:sym typeface="Gill Sans" charset="0"/>
              </a:rPr>
              <a:t>2009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 smtClean="0">
                <a:solidFill>
                  <a:srgbClr val="000000"/>
                </a:solidFill>
                <a:sym typeface="Gill Sans" charset="0"/>
              </a:rPr>
              <a:t>07.01</a:t>
            </a:r>
            <a:endParaRPr lang="hu-HU" sz="1400" dirty="0">
              <a:solidFill>
                <a:srgbClr val="000000"/>
              </a:solidFill>
              <a:sym typeface="Gill Sans" charset="0"/>
            </a:endParaRPr>
          </a:p>
        </p:txBody>
      </p:sp>
      <p:cxnSp>
        <p:nvCxnSpPr>
          <p:cNvPr id="120" name="Egyenes összekötő 119"/>
          <p:cNvCxnSpPr/>
          <p:nvPr/>
        </p:nvCxnSpPr>
        <p:spPr bwMode="auto">
          <a:xfrm>
            <a:off x="5580112" y="5318987"/>
            <a:ext cx="180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Egyenes összekötő 120"/>
          <p:cNvCxnSpPr/>
          <p:nvPr/>
        </p:nvCxnSpPr>
        <p:spPr bwMode="auto">
          <a:xfrm>
            <a:off x="7188683" y="5318966"/>
            <a:ext cx="1656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Egyenes összekötő 121"/>
          <p:cNvCxnSpPr/>
          <p:nvPr/>
        </p:nvCxnSpPr>
        <p:spPr bwMode="auto">
          <a:xfrm>
            <a:off x="5801342" y="5318966"/>
            <a:ext cx="1332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Egyenes összekötő 122"/>
          <p:cNvCxnSpPr/>
          <p:nvPr/>
        </p:nvCxnSpPr>
        <p:spPr bwMode="auto">
          <a:xfrm>
            <a:off x="2699791" y="5318987"/>
            <a:ext cx="2808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Egyenes összekötő 123"/>
          <p:cNvCxnSpPr/>
          <p:nvPr/>
        </p:nvCxnSpPr>
        <p:spPr bwMode="auto">
          <a:xfrm>
            <a:off x="2365132" y="5318966"/>
            <a:ext cx="252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Szövegdoboz 124"/>
          <p:cNvSpPr txBox="1"/>
          <p:nvPr/>
        </p:nvSpPr>
        <p:spPr>
          <a:xfrm>
            <a:off x="15244" y="5442685"/>
            <a:ext cx="607568" cy="280359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1</a:t>
            </a:r>
          </a:p>
        </p:txBody>
      </p:sp>
      <p:cxnSp>
        <p:nvCxnSpPr>
          <p:cNvPr id="126" name="Egyenes összekötő 125"/>
          <p:cNvCxnSpPr/>
          <p:nvPr/>
        </p:nvCxnSpPr>
        <p:spPr bwMode="auto">
          <a:xfrm>
            <a:off x="350530" y="5318966"/>
            <a:ext cx="1944000" cy="0"/>
          </a:xfrm>
          <a:prstGeom prst="line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7" name="Ellipszis 126"/>
          <p:cNvSpPr/>
          <p:nvPr/>
        </p:nvSpPr>
        <p:spPr bwMode="auto">
          <a:xfrm>
            <a:off x="268397" y="5245879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28" name="Ellipszis 127"/>
          <p:cNvSpPr/>
          <p:nvPr/>
        </p:nvSpPr>
        <p:spPr bwMode="auto">
          <a:xfrm>
            <a:off x="2267744" y="5245879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29" name="Ellipszis 128"/>
          <p:cNvSpPr/>
          <p:nvPr/>
        </p:nvSpPr>
        <p:spPr bwMode="auto">
          <a:xfrm>
            <a:off x="2586188" y="5245879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0" name="Ellipszis 129"/>
          <p:cNvSpPr/>
          <p:nvPr/>
        </p:nvSpPr>
        <p:spPr bwMode="auto">
          <a:xfrm>
            <a:off x="5508104" y="5245879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1" name="Ellipszis 130"/>
          <p:cNvSpPr/>
          <p:nvPr/>
        </p:nvSpPr>
        <p:spPr bwMode="auto">
          <a:xfrm>
            <a:off x="7122692" y="5245879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2" name="Ellipszis 131"/>
          <p:cNvSpPr/>
          <p:nvPr/>
        </p:nvSpPr>
        <p:spPr bwMode="auto">
          <a:xfrm>
            <a:off x="8812630" y="5245879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3" name="Szövegdoboz 132"/>
          <p:cNvSpPr txBox="1"/>
          <p:nvPr/>
        </p:nvSpPr>
        <p:spPr>
          <a:xfrm>
            <a:off x="8622452" y="5406346"/>
            <a:ext cx="620763" cy="281327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16</a:t>
            </a:r>
          </a:p>
        </p:txBody>
      </p:sp>
      <p:sp>
        <p:nvSpPr>
          <p:cNvPr id="134" name="Ellipszis 133"/>
          <p:cNvSpPr/>
          <p:nvPr/>
        </p:nvSpPr>
        <p:spPr bwMode="auto">
          <a:xfrm>
            <a:off x="5690999" y="5246987"/>
            <a:ext cx="113604" cy="123718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5" name="Szövegdoboz 134"/>
          <p:cNvSpPr txBox="1"/>
          <p:nvPr/>
        </p:nvSpPr>
        <p:spPr>
          <a:xfrm>
            <a:off x="2483769" y="5442684"/>
            <a:ext cx="607263" cy="495803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 smtClean="0">
                <a:solidFill>
                  <a:srgbClr val="000000"/>
                </a:solidFill>
                <a:sym typeface="Gill Sans" charset="0"/>
              </a:rPr>
              <a:t>12.23</a:t>
            </a:r>
            <a:endParaRPr 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6" name="Szövegdoboz 135"/>
          <p:cNvSpPr txBox="1"/>
          <p:nvPr/>
        </p:nvSpPr>
        <p:spPr>
          <a:xfrm>
            <a:off x="1907704" y="5439254"/>
            <a:ext cx="648072" cy="495803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200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>
                <a:solidFill>
                  <a:srgbClr val="000000"/>
                </a:solidFill>
                <a:sym typeface="Gill Sans" charset="0"/>
              </a:rPr>
              <a:t>06.15</a:t>
            </a:r>
          </a:p>
        </p:txBody>
      </p:sp>
      <p:sp>
        <p:nvSpPr>
          <p:cNvPr id="137" name="Szövegdoboz 136"/>
          <p:cNvSpPr txBox="1"/>
          <p:nvPr/>
        </p:nvSpPr>
        <p:spPr>
          <a:xfrm>
            <a:off x="5506178" y="5453481"/>
            <a:ext cx="649998" cy="495799"/>
          </a:xfrm>
          <a:prstGeom prst="rect">
            <a:avLst/>
          </a:prstGeom>
          <a:noFill/>
          <a:ln>
            <a:noFill/>
          </a:ln>
        </p:spPr>
        <p:txBody>
          <a:bodyPr wrap="square" lIns="64284" tIns="32142" rIns="64284" bIns="321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 smtClean="0">
                <a:solidFill>
                  <a:srgbClr val="000000"/>
                </a:solidFill>
                <a:sym typeface="Gill Sans" charset="0"/>
              </a:rPr>
              <a:t>2009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400" dirty="0" smtClean="0">
                <a:solidFill>
                  <a:srgbClr val="000000"/>
                </a:solidFill>
                <a:sym typeface="Gill Sans" charset="0"/>
              </a:rPr>
              <a:t>10.01</a:t>
            </a:r>
            <a:endParaRPr 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8" name="Szövegdoboz 137"/>
          <p:cNvSpPr txBox="1"/>
          <p:nvPr/>
        </p:nvSpPr>
        <p:spPr>
          <a:xfrm>
            <a:off x="1538554" y="4320708"/>
            <a:ext cx="6561838" cy="2276644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12/2001 (I.31). Kormányrendelet a lakáscélú támogatásokról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1700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Kiegészítő kamattámogatás/jelzáloglevél kamattámogatás </a:t>
            </a:r>
            <a:endParaRPr lang="hu-HU" sz="1700" b="1" dirty="0" smtClean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(</a:t>
            </a: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kettős támogatás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) 20 éven keresztül, 6-8%-os hiteldíj</a:t>
            </a:r>
            <a:endParaRPr lang="hu-HU" sz="17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Új lakásra 10 millió, használt lakásra 30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millió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Új lakás ára </a:t>
            </a:r>
            <a:r>
              <a:rPr lang="hu-HU" sz="1700" b="1" dirty="0" err="1" smtClean="0">
                <a:solidFill>
                  <a:srgbClr val="000000"/>
                </a:solidFill>
                <a:sym typeface="Gill Sans" charset="0"/>
              </a:rPr>
              <a:t>max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: 30 millió, használtra nincs korlá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1 adós több támogatott hitelt is felvehet</a:t>
            </a:r>
            <a:endParaRPr lang="hu-HU" sz="2000" b="1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39" name="Szövegdoboz 138"/>
          <p:cNvSpPr txBox="1"/>
          <p:nvPr/>
        </p:nvSpPr>
        <p:spPr>
          <a:xfrm>
            <a:off x="2123728" y="4193566"/>
            <a:ext cx="5892955" cy="1971738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 2003.06.15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Szigorodó szabályo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u="sng" dirty="0">
              <a:solidFill>
                <a:srgbClr val="000000"/>
              </a:solidFill>
              <a:sym typeface="Gill Sans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Új és használt lakásra </a:t>
            </a:r>
            <a:r>
              <a:rPr lang="hu-HU" altLang="hu-HU" sz="1700" b="1" dirty="0" err="1">
                <a:solidFill>
                  <a:srgbClr val="000000"/>
                </a:solidFill>
                <a:sym typeface="Gill Sans" charset="0"/>
              </a:rPr>
              <a:t>max</a:t>
            </a: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. 15 millió Ft</a:t>
            </a: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1 adós csak egy támogatott hitellel </a:t>
            </a: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rendelkezhet, eladó nem lehet közeli rokon. </a:t>
            </a: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Hiteldíj: 5-6%</a:t>
            </a: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12/2001. (I.31.) Korm. </a:t>
            </a: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rendelet</a:t>
            </a:r>
            <a:r>
              <a:rPr lang="hu-HU" altLang="hu-HU" sz="1700" dirty="0" smtClean="0">
                <a:solidFill>
                  <a:srgbClr val="000000"/>
                </a:solidFill>
                <a:sym typeface="Gill Sans" charset="0"/>
              </a:rPr>
              <a:t>(</a:t>
            </a:r>
            <a:endParaRPr lang="hu-HU" altLang="hu-HU" sz="17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40" name="Szövegdoboz 139"/>
          <p:cNvSpPr txBox="1"/>
          <p:nvPr/>
        </p:nvSpPr>
        <p:spPr>
          <a:xfrm>
            <a:off x="2491132" y="4445695"/>
            <a:ext cx="5068076" cy="1935633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3.12.2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További szigorítá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u="sng" dirty="0">
              <a:solidFill>
                <a:srgbClr val="000000"/>
              </a:solidFill>
              <a:sym typeface="Gill Sans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Használt lakásra már csak 5 millió Ft támogatás</a:t>
            </a: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Hiteldíj: 6-8,5%</a:t>
            </a: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12/2001</a:t>
            </a: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. (I.31.) Korm. rendelet</a:t>
            </a:r>
            <a:endParaRPr lang="hu-HU" altLang="hu-HU" sz="17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41" name="Szövegdoboz 140"/>
          <p:cNvSpPr txBox="1"/>
          <p:nvPr/>
        </p:nvSpPr>
        <p:spPr>
          <a:xfrm>
            <a:off x="3828165" y="3856338"/>
            <a:ext cx="2819692" cy="1516878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9.07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alt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2000" b="1" dirty="0">
                <a:solidFill>
                  <a:srgbClr val="000000"/>
                </a:solidFill>
                <a:sym typeface="Gill Sans" charset="0"/>
              </a:rPr>
              <a:t>Támogatások megszüntetése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42" name="Szövegdoboz 141"/>
          <p:cNvSpPr txBox="1"/>
          <p:nvPr/>
        </p:nvSpPr>
        <p:spPr>
          <a:xfrm>
            <a:off x="1907704" y="3861048"/>
            <a:ext cx="6192688" cy="2736304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09.10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2000" b="1" dirty="0">
                <a:solidFill>
                  <a:srgbClr val="000000"/>
                </a:solidFill>
                <a:sym typeface="Gill Sans" charset="0"/>
              </a:rPr>
              <a:t>Fiatalok, valamint a többgyermekes családok kamattámogatott hitel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alt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Kizárólag új lakáscélra és korszerűsítésr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20 éves </a:t>
            </a: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kamattámogatással. Új lakásra 10-12,5 millió, korszerűsítésre 5 millió Ft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Ingatlan érték </a:t>
            </a:r>
            <a:r>
              <a:rPr lang="hu-HU" altLang="hu-HU" sz="1700" b="1" dirty="0" err="1" smtClean="0">
                <a:solidFill>
                  <a:srgbClr val="000000"/>
                </a:solidFill>
                <a:sym typeface="Gill Sans" charset="0"/>
              </a:rPr>
              <a:t>max</a:t>
            </a: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: 20-25 millió, </a:t>
            </a:r>
            <a:r>
              <a:rPr lang="hu-HU" altLang="hu-HU" sz="1700" b="1" dirty="0" smtClean="0">
                <a:solidFill>
                  <a:srgbClr val="000000"/>
                </a:solidFill>
                <a:sym typeface="Gill Sans" charset="0"/>
              </a:rPr>
              <a:t>Hiteldíj:6-7%</a:t>
            </a:r>
            <a:endParaRPr lang="hu-HU" altLang="hu-HU" sz="17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altLang="hu-HU" sz="1700" b="1" dirty="0">
                <a:solidFill>
                  <a:srgbClr val="000000"/>
                </a:solidFill>
                <a:sym typeface="Gill Sans" charset="0"/>
              </a:rPr>
              <a:t>134/2009.(VI.23.) Korm. rendelet</a:t>
            </a:r>
          </a:p>
        </p:txBody>
      </p:sp>
      <p:sp>
        <p:nvSpPr>
          <p:cNvPr id="143" name="Szövegdoboz 142"/>
          <p:cNvSpPr txBox="1"/>
          <p:nvPr/>
        </p:nvSpPr>
        <p:spPr>
          <a:xfrm>
            <a:off x="1187624" y="3798040"/>
            <a:ext cx="7434827" cy="2583288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12.07.17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Otthonteremtési kamattámogatott hite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Ismét van használt lakás vásárlásra, 5 éves támogatási időszak (új lakás építésre/vásárlásra, korszerűsítésre, bővítésre), párhuzamosan fut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a Fiatalok és több gyermekesek hitelével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Új lakásra 15 millió Ft, használt lakásra 10 millió Ft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Ingatlanérték új lakásnál 35 millió, használtnál 20 millió.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341/2011</a:t>
            </a: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. (XII. 29.) Korm. rendelet és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a 160/2012</a:t>
            </a: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. (VII. 17.) Korm. rendelet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144" name="Szövegdoboz 143"/>
          <p:cNvSpPr txBox="1"/>
          <p:nvPr/>
        </p:nvSpPr>
        <p:spPr>
          <a:xfrm>
            <a:off x="1322530" y="3988184"/>
            <a:ext cx="7209910" cy="2321136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4284" tIns="32142" rIns="64284" bIns="32142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2016.01.0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>
                <a:solidFill>
                  <a:srgbClr val="000000"/>
                </a:solidFill>
                <a:sym typeface="Gill Sans" charset="0"/>
              </a:rPr>
              <a:t>10 millió 3 gyerekeseknek új lakásr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20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3%-os kamat 25 évig, kizárólag a 10 milliós </a:t>
            </a:r>
            <a:r>
              <a:rPr lang="hu-HU" sz="1700" b="1" dirty="0" err="1">
                <a:solidFill>
                  <a:srgbClr val="000000"/>
                </a:solidFill>
                <a:sym typeface="Gill Sans" charset="0"/>
              </a:rPr>
              <a:t>CSOK-al</a:t>
            </a: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 együtt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igényelhető.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Néhány héttel később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módosult a jogszabály, csak ennél a konstrukciónál eltörölték a 30 milliós vételár korlátot.</a:t>
            </a:r>
            <a:endParaRPr lang="hu-HU" sz="1700" b="1" dirty="0">
              <a:solidFill>
                <a:srgbClr val="000000"/>
              </a:solidFill>
              <a:sym typeface="Gill Sans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341/2011. (XII. 29.) Korm. rendelet és </a:t>
            </a:r>
            <a:r>
              <a:rPr lang="hu-HU" sz="1700" b="1" dirty="0" smtClean="0">
                <a:solidFill>
                  <a:srgbClr val="000000"/>
                </a:solidFill>
                <a:sym typeface="Gill Sans" charset="0"/>
              </a:rPr>
              <a:t>160/2012</a:t>
            </a:r>
            <a:r>
              <a:rPr lang="hu-HU" sz="1700" b="1" dirty="0">
                <a:solidFill>
                  <a:srgbClr val="000000"/>
                </a:solidFill>
                <a:sym typeface="Gill Sans" charset="0"/>
              </a:rPr>
              <a:t>. (VII. 17.) Korm. rendelet</a:t>
            </a:r>
            <a:endParaRPr lang="hu-HU" altLang="hu-HU" sz="1400" dirty="0">
              <a:solidFill>
                <a:srgbClr val="000000"/>
              </a:solidFill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99852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197E-6 -3.79091E-6 L -0.3632 -0.03077 C -0.41692 -0.05341 -0.43841 -0.05797 -0.43841 -0.12033 L -0.44512 -0.26982 " pathEditMode="relative" rAng="0" ptsTypes="FfFF">
                                      <p:cBhvr>
                                        <p:cTn id="21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256" y="-13499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2000" fill="hold"/>
                                        <p:tgtEl>
                                          <p:spTgt spid="21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5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412E-6 4.72887E-6 L -0.33183 -0.01499 C -0.38091 -0.02231 -0.40044 -0.02638 -0.40044 -0.05586 L -0.40643 -0.12165 " pathEditMode="relative" rAng="0" ptsTypes="FfFF">
                                      <p:cBhvr>
                                        <p:cTn id="51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327" y="-609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3" dur="2000" fill="hold"/>
                                        <p:tgtEl>
                                          <p:spTgt spid="22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750"/>
                            </p:stCondLst>
                            <p:childTnLst>
                              <p:par>
                                <p:cTn id="65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3339E-6 1.90686E-6 L -0.27579 -0.03941 C -0.31681 -0.05862 -0.33293 -0.06921 -0.33293 -0.14623 L -0.33769 -0.31705 " pathEditMode="relative" rAng="0" ptsTypes="FfFF">
                                      <p:cBhvr>
                                        <p:cTn id="7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884" y="-15861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6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750"/>
                            </p:stCondLst>
                            <p:childTnLst>
                              <p:par>
                                <p:cTn id="88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478E-6 -4.06611E-6 L -0.23966 -0.01661 C -0.27543 -0.02491 -0.28922 -0.02914 -0.28922 -0.06139 L -0.29338 -0.13304 " pathEditMode="relative" rAng="0" ptsTypes="FfFF">
                                      <p:cBhvr>
                                        <p:cTn id="105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675" y="-666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7" dur="1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3" dur="2000" fill="hold"/>
                                        <p:tgtEl>
                                          <p:spTgt spid="35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0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2750"/>
                            </p:stCondLst>
                            <p:childTnLst>
                              <p:par>
                                <p:cTn id="125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478E-6 -4.06611E-6 L -0.14931 -0.03322 C -0.17166 -0.04982 -0.1802 -0.05829 -0.1802 -0.12278 L -0.18264 -0.26591 " pathEditMode="relative" rAng="0" ptsTypes="FfFF">
                                      <p:cBhvr>
                                        <p:cTn id="134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2" y="-13304"/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6" dur="2000" fill="hold"/>
                                        <p:tgtEl>
                                          <p:spTgt spid="50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2000"/>
                            </p:stCondLst>
                            <p:childTnLst>
                              <p:par>
                                <p:cTn id="1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3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2750"/>
                            </p:stCondLst>
                            <p:childTnLst>
                              <p:par>
                                <p:cTn id="148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8375E-6 -0.00717 L 0.03992 -0.0101 C 0.0459 -0.01157 0.04822 -0.01222 0.04822 -0.01759 L 0.04895 -0.02948 " pathEditMode="relative" rAng="0" ptsTypes="FfFF">
                                      <p:cBhvr>
                                        <p:cTn id="157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42" y="-1124"/>
                                    </p:animMotion>
                                  </p:childTnLst>
                                </p:cTn>
                              </p:par>
                              <p:par>
                                <p:cTn id="15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9" dur="2000" fill="hold"/>
                                        <p:tgtEl>
                                          <p:spTgt spid="44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2000"/>
                            </p:stCondLst>
                            <p:childTnLst>
                              <p:par>
                                <p:cTn id="1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6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2750"/>
                            </p:stCondLst>
                            <p:childTnLst>
                              <p:par>
                                <p:cTn id="171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7" fill="hold">
                      <p:stCondLst>
                        <p:cond delay="indefinite"/>
                      </p:stCondLst>
                      <p:childTnLst>
                        <p:par>
                          <p:cTn id="178" fill="hold">
                            <p:stCondLst>
                              <p:cond delay="0"/>
                            </p:stCondLst>
                            <p:childTnLst>
                              <p:par>
                                <p:cTn id="179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4091E-6 2.80085E-6 L 0.16018 -0.03143 C 0.18411 -0.04706 0.19326 -0.05488 0.19326 -0.11513 L 0.19595 -0.24866 " pathEditMode="relative" rAng="0" ptsTypes="FfFF">
                                      <p:cBhvr>
                                        <p:cTn id="180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91" y="-12441"/>
                                    </p:animMotion>
                                  </p:childTnLst>
                                </p:cTn>
                              </p:par>
                              <p:par>
                                <p:cTn id="18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2" dur="2000" fill="hold"/>
                                        <p:tgtEl>
                                          <p:spTgt spid="55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3" fill="hold">
                            <p:stCondLst>
                              <p:cond delay="2000"/>
                            </p:stCondLst>
                            <p:childTnLst>
                              <p:par>
                                <p:cTn id="18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9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2750"/>
                            </p:stCondLst>
                            <p:childTnLst>
                              <p:par>
                                <p:cTn id="194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9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2417E-6 3.43755E-6 L 0.32096 -0.01222 C 0.36882 -0.01824 0.38737 -0.02117 0.38737 -0.04446 L 0.39311 -0.09592 " pathEditMode="relative" rAng="0" ptsTypes="FfFF">
                                      <p:cBhvr>
                                        <p:cTn id="203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56" y="-4804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5" dur="2000" fill="hold"/>
                                        <p:tgtEl>
                                          <p:spTgt spid="60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2000"/>
                            </p:stCondLst>
                            <p:childTnLst>
                              <p:par>
                                <p:cTn id="20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2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2750"/>
                            </p:stCondLst>
                            <p:childTnLst>
                              <p:par>
                                <p:cTn id="217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9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0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1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3" fill="hold">
                      <p:stCondLst>
                        <p:cond delay="indefinite"/>
                      </p:stCondLst>
                      <p:childTnLst>
                        <p:par>
                          <p:cTn id="224" fill="hold">
                            <p:stCondLst>
                              <p:cond delay="0"/>
                            </p:stCondLst>
                            <p:childTnLst>
                              <p:par>
                                <p:cTn id="225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48148E-6 L 0.3276 -0.03148 C 0.37639 -0.04699 0.39531 -0.05417 0.39531 -0.11412 L 0.40121 -0.24583 " pathEditMode="relative" rAng="0" ptsTypes="FfFF">
                                      <p:cBhvr>
                                        <p:cTn id="226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052" y="-12292"/>
                                    </p:animMotion>
                                  </p:childTnLst>
                                </p:cTn>
                              </p:par>
                              <p:par>
                                <p:cTn id="22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8" dur="2000" fill="hold"/>
                                        <p:tgtEl>
                                          <p:spTgt spid="75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3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6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7" fill="hold">
                            <p:stCondLst>
                              <p:cond delay="750"/>
                            </p:stCondLst>
                            <p:childTnLst>
                              <p:par>
                                <p:cTn id="238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0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1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2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3" dur="1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4" fill="hold">
                      <p:stCondLst>
                        <p:cond delay="indefinite"/>
                      </p:stCondLst>
                      <p:childTnLst>
                        <p:par>
                          <p:cTn id="245" fill="hold">
                            <p:stCondLst>
                              <p:cond delay="0"/>
                            </p:stCondLst>
                            <p:childTnLst>
                              <p:par>
                                <p:cTn id="246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33333E-6 L -0.35659 -0.01019 C -0.4092 -0.01783 -0.4302 -0.01898 -0.4302 -0.03912 L -0.43663 -0.08588 " pathEditMode="relative" rAng="0" ptsTypes="FfFF">
                                      <p:cBhvr>
                                        <p:cTn id="247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840" y="-4306"/>
                                    </p:animMotion>
                                  </p:childTnLst>
                                </p:cTn>
                              </p:par>
                              <p:par>
                                <p:cTn id="24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9" dur="2000" fill="hold"/>
                                        <p:tgtEl>
                                          <p:spTgt spid="138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>
                            <p:stCondLst>
                              <p:cond delay="2000"/>
                            </p:stCondLst>
                            <p:childTnLst>
                              <p:par>
                                <p:cTn id="2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6" dur="7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0" fill="hold">
                            <p:stCondLst>
                              <p:cond delay="2750"/>
                            </p:stCondLst>
                            <p:childTnLst>
                              <p:par>
                                <p:cTn id="261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3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6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7" fill="hold">
                      <p:stCondLst>
                        <p:cond delay="indefinite"/>
                      </p:stCondLst>
                      <p:childTnLst>
                        <p:par>
                          <p:cTn id="268" fill="hold">
                            <p:stCondLst>
                              <p:cond delay="0"/>
                            </p:stCondLst>
                            <p:childTnLst>
                              <p:par>
                                <p:cTn id="269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1.85185E-6 L -0.25833 0.0162 C -0.2967 0.02662 -0.31198 0.03356 -0.31198 0.07129 L -0.31632 0.16134 " pathEditMode="relative" rAng="0" ptsTypes="FfFF">
                                      <p:cBhvr>
                                        <p:cTn id="270" dur="2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816" y="8056"/>
                                    </p:animMotion>
                                  </p:childTnLst>
                                </p:cTn>
                              </p:par>
                              <p:par>
                                <p:cTn id="27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72" dur="2000" fill="hold"/>
                                        <p:tgtEl>
                                          <p:spTgt spid="139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3" fill="hold">
                            <p:stCondLst>
                              <p:cond delay="2000"/>
                            </p:stCondLst>
                            <p:childTnLst>
                              <p:par>
                                <p:cTn id="2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6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9" dur="7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3" fill="hold">
                            <p:stCondLst>
                              <p:cond delay="2750"/>
                            </p:stCondLst>
                            <p:childTnLst>
                              <p:par>
                                <p:cTn id="284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6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7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8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9" dur="1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0" fill="hold">
                      <p:stCondLst>
                        <p:cond delay="indefinite"/>
                      </p:stCondLst>
                      <p:childTnLst>
                        <p:par>
                          <p:cTn id="291" fill="hold">
                            <p:stCondLst>
                              <p:cond delay="0"/>
                            </p:stCondLst>
                            <p:childTnLst>
                              <p:par>
                                <p:cTn id="292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48148E-6 L -0.18212 -0.01111 C -0.2092 -0.01667 -0.21997 -0.01945 -0.21997 -0.04074 L -0.22274 -0.08773 " pathEditMode="relative" rAng="0" ptsTypes="FfFF">
                                      <p:cBhvr>
                                        <p:cTn id="293" dur="2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146" y="-4398"/>
                                    </p:animMotion>
                                  </p:childTnLst>
                                </p:cTn>
                              </p:par>
                              <p:par>
                                <p:cTn id="294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5" dur="2000" fill="hold"/>
                                        <p:tgtEl>
                                          <p:spTgt spid="140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6" fill="hold">
                            <p:stCondLst>
                              <p:cond delay="2000"/>
                            </p:stCondLst>
                            <p:childTnLst>
                              <p:par>
                                <p:cTn id="2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2" dur="7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5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6" fill="hold">
                            <p:stCondLst>
                              <p:cond delay="2750"/>
                            </p:stCondLst>
                            <p:childTnLst>
                              <p:par>
                                <p:cTn id="307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9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0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2" dur="1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3" fill="hold">
                      <p:stCondLst>
                        <p:cond delay="indefinite"/>
                      </p:stCondLst>
                      <p:childTnLst>
                        <p:par>
                          <p:cTn id="314" fill="hold">
                            <p:stCondLst>
                              <p:cond delay="0"/>
                            </p:stCondLst>
                            <p:childTnLst>
                              <p:par>
                                <p:cTn id="315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1.48148E-6 L 0.02414 0.03194 C 0.02778 0.04537 0.02917 0.0544 0.02917 0.11088 L 0.02969 0.2368 " pathEditMode="relative" rAng="0" ptsTypes="FfFF">
                                      <p:cBhvr>
                                        <p:cTn id="316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6" y="11829"/>
                                    </p:animMotion>
                                  </p:childTnLst>
                                </p:cTn>
                              </p:par>
                              <p:par>
                                <p:cTn id="31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8" dur="2000" fill="hold"/>
                                        <p:tgtEl>
                                          <p:spTgt spid="141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9" fill="hold">
                            <p:stCondLst>
                              <p:cond delay="2000"/>
                            </p:stCondLst>
                            <p:childTnLst>
                              <p:par>
                                <p:cTn id="3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5" dur="75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9" fill="hold">
                            <p:stCondLst>
                              <p:cond delay="2750"/>
                            </p:stCondLst>
                            <p:childTnLst>
                              <p:par>
                                <p:cTn id="330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2" dur="1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3" dur="1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4" dur="1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5" dur="10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6" fill="hold">
                      <p:stCondLst>
                        <p:cond delay="indefinite"/>
                      </p:stCondLst>
                      <p:childTnLst>
                        <p:par>
                          <p:cTn id="337" fill="hold">
                            <p:stCondLst>
                              <p:cond delay="0"/>
                            </p:stCondLst>
                            <p:childTnLst>
                              <p:par>
                                <p:cTn id="338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4.44444E-6 L 0.06997 -0.00671 C 0.08038 -0.00925 0.08455 -0.0118 0.08455 -0.02546 L 0.08663 -0.0618 " pathEditMode="relative" rAng="0" ptsTypes="FfFF">
                                      <p:cBhvr>
                                        <p:cTn id="339" dur="2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23" y="-3102"/>
                                    </p:animMotion>
                                  </p:childTnLst>
                                </p:cTn>
                              </p:par>
                              <p:par>
                                <p:cTn id="340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1" dur="2000" fill="hold"/>
                                        <p:tgtEl>
                                          <p:spTgt spid="142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2" fill="hold">
                            <p:stCondLst>
                              <p:cond delay="2000"/>
                            </p:stCondLst>
                            <p:childTnLst>
                              <p:par>
                                <p:cTn id="3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8" dur="7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1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2" fill="hold">
                            <p:stCondLst>
                              <p:cond delay="2750"/>
                            </p:stCondLst>
                            <p:childTnLst>
                              <p:par>
                                <p:cTn id="353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5" dur="1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6" dur="1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7" dur="1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8" dur="10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9" fill="hold">
                      <p:stCondLst>
                        <p:cond delay="indefinite"/>
                      </p:stCondLst>
                      <p:childTnLst>
                        <p:par>
                          <p:cTn id="360" fill="hold">
                            <p:stCondLst>
                              <p:cond delay="0"/>
                            </p:stCondLst>
                            <p:childTnLst>
                              <p:par>
                                <p:cTn id="361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1.85185E-6 L 0.18108 0.01713 C 0.20782 0.0257 0.21841 0.02986 0.21841 0.06296 L 0.22188 0.14097 " pathEditMode="relative" rAng="0" ptsTypes="FfFF">
                                      <p:cBhvr>
                                        <p:cTn id="362" dur="2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94" y="7037"/>
                                    </p:animMotion>
                                  </p:childTnLst>
                                </p:cTn>
                              </p:par>
                              <p:par>
                                <p:cTn id="363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4" dur="2000" fill="hold"/>
                                        <p:tgtEl>
                                          <p:spTgt spid="143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1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4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5" fill="hold">
                            <p:stCondLst>
                              <p:cond delay="2750"/>
                            </p:stCondLst>
                            <p:childTnLst>
                              <p:par>
                                <p:cTn id="376" presetID="3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8" dur="1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9" dur="1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0" dur="1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1" dur="1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2" fill="hold">
                      <p:stCondLst>
                        <p:cond delay="indefinite"/>
                      </p:stCondLst>
                      <p:childTnLst>
                        <p:par>
                          <p:cTn id="383" fill="hold">
                            <p:stCondLst>
                              <p:cond delay="0"/>
                            </p:stCondLst>
                            <p:childTnLst>
                              <p:par>
                                <p:cTn id="384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1.11111E-6 L 0.32812 -0.00509 C 0.37708 -0.00764 0.39618 -0.00857 0.39618 -0.01829 L 0.40208 -0.03935 " pathEditMode="relative" rAng="0" ptsTypes="FfFF">
                                      <p:cBhvr>
                                        <p:cTn id="385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104" y="-1968"/>
                                    </p:animMotion>
                                  </p:childTnLst>
                                </p:cTn>
                              </p:par>
                              <p:par>
                                <p:cTn id="386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7" dur="2000" fill="hold"/>
                                        <p:tgtEl>
                                          <p:spTgt spid="144"/>
                                        </p:tgtEl>
                                      </p:cBhvr>
                                      <p:by x="20000" y="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47" grpId="0"/>
      <p:bldP spid="51" grpId="0"/>
      <p:bldP spid="35" grpId="0" animBg="1"/>
      <p:bldP spid="35" grpId="1" animBg="1"/>
      <p:bldP spid="35" grpId="2" animBg="1"/>
      <p:bldP spid="50" grpId="0" animBg="1"/>
      <p:bldP spid="50" grpId="1" animBg="1"/>
      <p:bldP spid="50" grpId="2" animBg="1"/>
      <p:bldP spid="22" grpId="0" animBg="1"/>
      <p:bldP spid="22" grpId="1" animBg="1"/>
      <p:bldP spid="22" grpId="2" animBg="1"/>
      <p:bldP spid="21" grpId="0" animBg="1"/>
      <p:bldP spid="21" grpId="1" animBg="1"/>
      <p:bldP spid="21" grpId="2" animBg="1"/>
      <p:bldP spid="28" grpId="0" animBg="1"/>
      <p:bldP spid="28" grpId="1" animBg="1"/>
      <p:bldP spid="28" grpId="2" animBg="1"/>
      <p:bldP spid="44" grpId="0" animBg="1"/>
      <p:bldP spid="44" grpId="1" animBg="1"/>
      <p:bldP spid="44" grpId="2" animBg="1"/>
      <p:bldP spid="55" grpId="0" animBg="1"/>
      <p:bldP spid="55" grpId="1" animBg="1"/>
      <p:bldP spid="55" grpId="2" animBg="1"/>
      <p:bldP spid="60" grpId="0" animBg="1"/>
      <p:bldP spid="60" grpId="1" animBg="1"/>
      <p:bldP spid="60" grpId="2" animBg="1"/>
      <p:bldP spid="16" grpId="0"/>
      <p:bldP spid="20" grpId="0" animBg="1"/>
      <p:bldP spid="23" grpId="0" animBg="1"/>
      <p:bldP spid="25" grpId="0"/>
      <p:bldP spid="27" grpId="0" animBg="1"/>
      <p:bldP spid="30" grpId="0" animBg="1"/>
      <p:bldP spid="31" grpId="0"/>
      <p:bldP spid="33" grpId="0" animBg="1"/>
      <p:bldP spid="34" grpId="0"/>
      <p:bldP spid="37" grpId="0" animBg="1"/>
      <p:bldP spid="46" grpId="0" animBg="1"/>
      <p:bldP spid="52" grpId="0" animBg="1"/>
      <p:bldP spid="58" grpId="0" animBg="1"/>
      <p:bldP spid="59" grpId="0"/>
      <p:bldP spid="73" grpId="0" animBg="1"/>
      <p:bldP spid="74" grpId="0"/>
      <p:bldP spid="75" grpId="0" animBg="1"/>
      <p:bldP spid="75" grpId="1" animBg="1"/>
      <p:bldP spid="75" grpId="2" animBg="1"/>
      <p:bldP spid="118" grpId="0"/>
      <p:bldP spid="119" grpId="0"/>
      <p:bldP spid="125" grpId="0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/>
      <p:bldP spid="134" grpId="0" animBg="1"/>
      <p:bldP spid="135" grpId="0"/>
      <p:bldP spid="136" grpId="0"/>
      <p:bldP spid="137" grpId="0"/>
      <p:bldP spid="138" grpId="0" animBg="1"/>
      <p:bldP spid="138" grpId="1" animBg="1"/>
      <p:bldP spid="138" grpId="2" animBg="1"/>
      <p:bldP spid="139" grpId="0" animBg="1"/>
      <p:bldP spid="139" grpId="1" animBg="1"/>
      <p:bldP spid="139" grpId="2" animBg="1"/>
      <p:bldP spid="140" grpId="0" animBg="1"/>
      <p:bldP spid="140" grpId="1" animBg="1"/>
      <p:bldP spid="140" grpId="2" animBg="1"/>
      <p:bldP spid="141" grpId="0" animBg="1"/>
      <p:bldP spid="141" grpId="1" animBg="1"/>
      <p:bldP spid="141" grpId="2" animBg="1"/>
      <p:bldP spid="142" grpId="0" animBg="1"/>
      <p:bldP spid="142" grpId="1" animBg="1"/>
      <p:bldP spid="142" grpId="2" animBg="1"/>
      <p:bldP spid="143" grpId="0" animBg="1"/>
      <p:bldP spid="143" grpId="1" animBg="1"/>
      <p:bldP spid="143" grpId="2" animBg="1"/>
      <p:bldP spid="144" grpId="0" animBg="1"/>
      <p:bldP spid="144" grpId="1" animBg="1"/>
      <p:bldP spid="144" grpId="2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85582" y="161215"/>
            <a:ext cx="8174850" cy="307777"/>
          </a:xfrm>
        </p:spPr>
        <p:txBody>
          <a:bodyPr/>
          <a:lstStyle/>
          <a:p>
            <a:r>
              <a:rPr lang="hu-HU" sz="2000" dirty="0" smtClean="0"/>
              <a:t>Ingatlanpiaci trendek</a:t>
            </a:r>
            <a:endParaRPr lang="hu-HU" sz="20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4</a:t>
            </a:fld>
            <a:endParaRPr lang="hu-HU">
              <a:solidFill>
                <a:prstClr val="black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518614534"/>
              </p:ext>
            </p:extLst>
          </p:nvPr>
        </p:nvGraphicFramePr>
        <p:xfrm>
          <a:off x="179512" y="1888184"/>
          <a:ext cx="8784976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2487960" y="764704"/>
            <a:ext cx="510837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atlan tranzakciók számának alakulása </a:t>
            </a:r>
            <a:r>
              <a:rPr lang="hu-H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orrás: KSH)</a:t>
            </a:r>
            <a:endParaRPr lang="hu-H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églalap 5"/>
          <p:cNvSpPr/>
          <p:nvPr/>
        </p:nvSpPr>
        <p:spPr bwMode="gray">
          <a:xfrm>
            <a:off x="2416630" y="3014602"/>
            <a:ext cx="4005941" cy="2070583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  <a:headEnd/>
            <a:tailEnd/>
          </a:ln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108000" bIns="72000" rtlCol="0" anchor="t" anchorCtr="0"/>
          <a:lstStyle/>
          <a:p>
            <a:pPr marL="171450" indent="-171450" algn="ctr" defTabSz="801688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921768" y="1381998"/>
            <a:ext cx="136815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ás boom </a:t>
            </a:r>
          </a:p>
          <a:p>
            <a:pPr algn="ctr"/>
            <a:r>
              <a:rPr lang="hu-HU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úcsa</a:t>
            </a:r>
            <a:endParaRPr lang="hu-HU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3311860" y="2582327"/>
            <a:ext cx="29523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 válság</a:t>
            </a:r>
            <a:endParaRPr lang="hu-HU" sz="20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6264188" y="1658997"/>
            <a:ext cx="244827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ndult a </a:t>
            </a:r>
          </a:p>
          <a:p>
            <a:pPr algn="ctr"/>
            <a:r>
              <a:rPr lang="hu-HU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ábalás</a:t>
            </a:r>
            <a:endParaRPr lang="hu-HU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Egyenes összekötő nyíllal 10"/>
          <p:cNvCxnSpPr/>
          <p:nvPr/>
        </p:nvCxnSpPr>
        <p:spPr>
          <a:xfrm>
            <a:off x="4427984" y="5085184"/>
            <a:ext cx="0" cy="28800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zövegdoboz 11"/>
          <p:cNvSpPr txBox="1"/>
          <p:nvPr/>
        </p:nvSpPr>
        <p:spPr>
          <a:xfrm>
            <a:off x="2735796" y="5405735"/>
            <a:ext cx="3672408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el 400.000 elhalasztott ingatlan vásárlás</a:t>
            </a:r>
            <a:endParaRPr lang="hu-H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107504" y="6300028"/>
            <a:ext cx="89289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Nem végleges 2015. KSH adatok alapján (119 ezer) alapján </a:t>
            </a:r>
            <a:r>
              <a:rPr lang="hu-HU" sz="12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sült adat </a:t>
            </a:r>
            <a:endParaRPr lang="hu-HU" sz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OTP saját becslése</a:t>
            </a:r>
          </a:p>
        </p:txBody>
      </p:sp>
    </p:spTree>
    <p:extLst>
      <p:ext uri="{BB962C8B-B14F-4D97-AF65-F5344CB8AC3E}">
        <p14:creationId xmlns:p14="http://schemas.microsoft.com/office/powerpoint/2010/main" val="86320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églalap 11"/>
          <p:cNvSpPr/>
          <p:nvPr/>
        </p:nvSpPr>
        <p:spPr>
          <a:xfrm>
            <a:off x="124084" y="3645024"/>
            <a:ext cx="8895832" cy="295232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7EA72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91420" tIns="45711" rIns="91420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628516">
              <a:spcBef>
                <a:spcPct val="50000"/>
              </a:spcBef>
              <a:buClr>
                <a:srgbClr val="000000"/>
              </a:buClr>
              <a:tabLst>
                <a:tab pos="361874" algn="l"/>
              </a:tabLst>
              <a:defRPr/>
            </a:pPr>
            <a:endParaRPr lang="hu-HU" sz="1400" b="1" kern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124084" y="764704"/>
            <a:ext cx="8895832" cy="28083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7EA72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91420" tIns="45711" rIns="91420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628516">
              <a:spcBef>
                <a:spcPct val="50000"/>
              </a:spcBef>
              <a:buClr>
                <a:srgbClr val="000000"/>
              </a:buClr>
              <a:tabLst>
                <a:tab pos="361874" algn="l"/>
              </a:tabLst>
              <a:defRPr/>
            </a:pPr>
            <a:endParaRPr lang="hu-HU" sz="1400" b="1" kern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5</a:t>
            </a:fld>
            <a:endParaRPr lang="hu-HU">
              <a:solidFill>
                <a:prstClr val="black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421980086"/>
              </p:ext>
            </p:extLst>
          </p:nvPr>
        </p:nvGraphicFramePr>
        <p:xfrm>
          <a:off x="179512" y="1196752"/>
          <a:ext cx="8784976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055342747"/>
              </p:ext>
            </p:extLst>
          </p:nvPr>
        </p:nvGraphicFramePr>
        <p:xfrm>
          <a:off x="179512" y="3996680"/>
          <a:ext cx="8784976" cy="2757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2843808" y="865050"/>
            <a:ext cx="4608512" cy="276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u-HU" sz="1800" dirty="0">
                <a:solidFill>
                  <a:prstClr val="black"/>
                </a:solidFill>
              </a:rPr>
              <a:t>Kiadott építési engedélyek </a:t>
            </a:r>
            <a:r>
              <a:rPr lang="hu-HU" sz="1800" dirty="0" smtClean="0">
                <a:solidFill>
                  <a:prstClr val="black"/>
                </a:solidFill>
              </a:rPr>
              <a:t>(lakások </a:t>
            </a:r>
            <a:r>
              <a:rPr lang="hu-HU" sz="1800" dirty="0">
                <a:solidFill>
                  <a:prstClr val="black"/>
                </a:solidFill>
              </a:rPr>
              <a:t>száma)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3563888" y="3816335"/>
            <a:ext cx="3168352" cy="276999"/>
          </a:xfrm>
          <a:prstGeom prst="rect">
            <a:avLst/>
          </a:prstGeom>
          <a:solidFill>
            <a:srgbClr val="EAF9D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u-HU" sz="1800" dirty="0" smtClean="0">
                <a:solidFill>
                  <a:prstClr val="black"/>
                </a:solidFill>
              </a:rPr>
              <a:t>Épült lakások száma</a:t>
            </a:r>
            <a:endParaRPr lang="hu-HU" sz="1800" dirty="0">
              <a:solidFill>
                <a:prstClr val="black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7740352" y="965525"/>
            <a:ext cx="127956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hu-H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hu-H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 I. negyedév</a:t>
            </a:r>
            <a:endParaRPr lang="hu-H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ím 1"/>
          <p:cNvSpPr txBox="1">
            <a:spLocks/>
          </p:cNvSpPr>
          <p:nvPr/>
        </p:nvSpPr>
        <p:spPr>
          <a:xfrm>
            <a:off x="156308" y="161214"/>
            <a:ext cx="8178067" cy="54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1996" tIns="0" rIns="71996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06384" eaLnBrk="0" fontAlgn="base" hangingPunct="0">
              <a:spcAft>
                <a:spcPct val="0"/>
              </a:spcAft>
            </a:pPr>
            <a:r>
              <a:rPr lang="hu-HU" sz="2800" dirty="0">
                <a:solidFill>
                  <a:schemeClr val="tx2"/>
                </a:solidFill>
                <a:latin typeface="+mj-lt"/>
              </a:rPr>
              <a:t>Új lendületet adhat az építőiparnak a CSOK</a:t>
            </a:r>
            <a:endParaRPr lang="hu-HU" sz="2800" dirty="0">
              <a:solidFill>
                <a:schemeClr val="tx2"/>
              </a:solidFill>
              <a:latin typeface="+mj-l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84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6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Cím 1"/>
          <p:cNvSpPr txBox="1">
            <a:spLocks/>
          </p:cNvSpPr>
          <p:nvPr/>
        </p:nvSpPr>
        <p:spPr>
          <a:xfrm>
            <a:off x="156308" y="161214"/>
            <a:ext cx="8178067" cy="54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1996" tIns="0" rIns="71996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06384" eaLnBrk="0" fontAlgn="base" hangingPunct="0">
              <a:spcAft>
                <a:spcPct val="0"/>
              </a:spcAft>
            </a:pPr>
            <a:r>
              <a:rPr lang="hu-HU" sz="2800" dirty="0">
                <a:solidFill>
                  <a:schemeClr val="tx2"/>
                </a:solidFill>
                <a:latin typeface="+mj-lt"/>
                <a:cs typeface="+mj-cs"/>
              </a:rPr>
              <a:t>CSOK – érdekességek a számok tükrében</a:t>
            </a:r>
          </a:p>
        </p:txBody>
      </p:sp>
      <p:sp>
        <p:nvSpPr>
          <p:cNvPr id="9" name="Téglalap 8"/>
          <p:cNvSpPr/>
          <p:nvPr/>
        </p:nvSpPr>
        <p:spPr bwMode="gray">
          <a:xfrm>
            <a:off x="161924" y="764704"/>
            <a:ext cx="4438651" cy="5859070"/>
          </a:xfrm>
          <a:prstGeom prst="rect">
            <a:avLst/>
          </a:prstGeom>
          <a:solidFill>
            <a:schemeClr val="bg1"/>
          </a:solidFill>
          <a:ln w="38100">
            <a:solidFill>
              <a:srgbClr val="86DF49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 bwMode="gray">
          <a:xfrm>
            <a:off x="371575" y="888976"/>
            <a:ext cx="1296144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  <a:headEnd/>
            <a:tailEnd/>
          </a:ln>
          <a:effectLst>
            <a:outerShdw blurRad="50800" dist="177800" dir="1860000" sx="102000" sy="102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ctr" anchorCtr="0"/>
          <a:lstStyle/>
          <a:p>
            <a:pPr algn="ctr" defTabSz="801647" eaLnBrk="0" hangingPunct="0">
              <a:spcAft>
                <a:spcPts val="800"/>
              </a:spcAft>
            </a:pPr>
            <a:r>
              <a:rPr lang="hu-HU" sz="2000" b="1" dirty="0">
                <a:solidFill>
                  <a:srgbClr val="000000"/>
                </a:solidFill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12" name="Téglalap 11"/>
          <p:cNvSpPr/>
          <p:nvPr/>
        </p:nvSpPr>
        <p:spPr bwMode="gray">
          <a:xfrm>
            <a:off x="3043117" y="888976"/>
            <a:ext cx="1296144" cy="43204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headEnd/>
            <a:tailEnd/>
          </a:ln>
          <a:effectLst>
            <a:outerShdw blurRad="50800" dist="177800" dir="1860000" sx="102000" sy="102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ctr" anchorCtr="0"/>
          <a:lstStyle/>
          <a:p>
            <a:pPr algn="ctr" defTabSz="801647" eaLnBrk="0" hangingPunct="0">
              <a:spcAft>
                <a:spcPts val="800"/>
              </a:spcAft>
            </a:pPr>
            <a:r>
              <a:rPr lang="hu-HU" sz="2000" b="1" dirty="0">
                <a:solidFill>
                  <a:srgbClr val="000000"/>
                </a:solidFill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13" name="Szövegdoboz 12"/>
          <p:cNvSpPr txBox="1"/>
          <p:nvPr/>
        </p:nvSpPr>
        <p:spPr>
          <a:xfrm>
            <a:off x="35496" y="6623774"/>
            <a:ext cx="1404246" cy="261606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>
            <a:defPPr>
              <a:defRPr lang="hu-HU"/>
            </a:defPPr>
            <a:lvl1pPr>
              <a:defRPr sz="1100"/>
            </a:lvl1pPr>
          </a:lstStyle>
          <a:p>
            <a:r>
              <a:rPr lang="hu-HU" dirty="0"/>
              <a:t>Forrás: OTP</a:t>
            </a:r>
          </a:p>
        </p:txBody>
      </p:sp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3580693294"/>
              </p:ext>
            </p:extLst>
          </p:nvPr>
        </p:nvGraphicFramePr>
        <p:xfrm>
          <a:off x="239688" y="1507577"/>
          <a:ext cx="2709508" cy="242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216441915"/>
              </p:ext>
            </p:extLst>
          </p:nvPr>
        </p:nvGraphicFramePr>
        <p:xfrm>
          <a:off x="2944632" y="1455313"/>
          <a:ext cx="2532112" cy="242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églalap 15"/>
          <p:cNvSpPr/>
          <p:nvPr/>
        </p:nvSpPr>
        <p:spPr bwMode="gray">
          <a:xfrm>
            <a:off x="4600576" y="764704"/>
            <a:ext cx="4381500" cy="5859070"/>
          </a:xfrm>
          <a:prstGeom prst="rect">
            <a:avLst/>
          </a:prstGeom>
          <a:solidFill>
            <a:schemeClr val="bg1"/>
          </a:solidFill>
          <a:ln w="38100">
            <a:solidFill>
              <a:srgbClr val="86DF49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t" anchorCtr="0"/>
          <a:lstStyle/>
          <a:p>
            <a:pPr marL="171441" indent="-171441" algn="ctr" defTabSz="801647" eaLnBrk="0" hangingPunct="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zövegdoboz 16"/>
          <p:cNvSpPr txBox="1"/>
          <p:nvPr/>
        </p:nvSpPr>
        <p:spPr>
          <a:xfrm>
            <a:off x="971600" y="1484785"/>
            <a:ext cx="2625668" cy="28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Hitelcél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1005792777"/>
              </p:ext>
            </p:extLst>
          </p:nvPr>
        </p:nvGraphicFramePr>
        <p:xfrm>
          <a:off x="251520" y="4459906"/>
          <a:ext cx="2709508" cy="242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1396889698"/>
              </p:ext>
            </p:extLst>
          </p:nvPr>
        </p:nvGraphicFramePr>
        <p:xfrm>
          <a:off x="2956464" y="4407642"/>
          <a:ext cx="2532112" cy="242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Szövegdoboz 19"/>
          <p:cNvSpPr txBox="1"/>
          <p:nvPr/>
        </p:nvSpPr>
        <p:spPr>
          <a:xfrm>
            <a:off x="5063134" y="4274006"/>
            <a:ext cx="3456384" cy="28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CSOK és lakáshitel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églalap 20"/>
          <p:cNvSpPr/>
          <p:nvPr/>
        </p:nvSpPr>
        <p:spPr bwMode="gray">
          <a:xfrm>
            <a:off x="4802692" y="889076"/>
            <a:ext cx="1296144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  <a:headEnd/>
            <a:tailEnd/>
          </a:ln>
          <a:effectLst>
            <a:outerShdw blurRad="50800" dist="177800" dir="1860000" sx="102000" sy="102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ctr" anchorCtr="0"/>
          <a:lstStyle/>
          <a:p>
            <a:pPr algn="ctr" defTabSz="801647" eaLnBrk="0" hangingPunct="0">
              <a:spcAft>
                <a:spcPts val="800"/>
              </a:spcAft>
            </a:pPr>
            <a:r>
              <a:rPr lang="hu-HU" sz="2000" b="1" dirty="0">
                <a:solidFill>
                  <a:srgbClr val="000000"/>
                </a:solidFill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22" name="Téglalap 21"/>
          <p:cNvSpPr/>
          <p:nvPr/>
        </p:nvSpPr>
        <p:spPr bwMode="gray">
          <a:xfrm>
            <a:off x="7452320" y="904504"/>
            <a:ext cx="1296144" cy="43204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headEnd/>
            <a:tailEnd/>
          </a:ln>
          <a:effectLst>
            <a:outerShdw blurRad="50800" dist="177800" dir="1860000" sx="102000" sy="102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6" tIns="71996" rIns="107995" bIns="71996" rtlCol="0" anchor="ctr" anchorCtr="0"/>
          <a:lstStyle/>
          <a:p>
            <a:pPr algn="ctr" defTabSz="801647" eaLnBrk="0" hangingPunct="0">
              <a:spcAft>
                <a:spcPts val="800"/>
              </a:spcAft>
            </a:pPr>
            <a:r>
              <a:rPr lang="hu-HU" sz="2000" b="1" dirty="0">
                <a:solidFill>
                  <a:srgbClr val="000000"/>
                </a:solidFill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25" name="Szövegdoboz 24"/>
          <p:cNvSpPr txBox="1"/>
          <p:nvPr/>
        </p:nvSpPr>
        <p:spPr>
          <a:xfrm>
            <a:off x="4802692" y="1491489"/>
            <a:ext cx="41793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Új építésű és használt lakások méretei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zövegdoboz 27"/>
          <p:cNvSpPr txBox="1"/>
          <p:nvPr/>
        </p:nvSpPr>
        <p:spPr>
          <a:xfrm>
            <a:off x="1019647" y="4060784"/>
            <a:ext cx="262566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in. 3 gyerekesek aránya új lakáscél esetén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164942032"/>
              </p:ext>
            </p:extLst>
          </p:nvPr>
        </p:nvGraphicFramePr>
        <p:xfrm>
          <a:off x="4600574" y="1766112"/>
          <a:ext cx="2900383" cy="2091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3916355314"/>
              </p:ext>
            </p:extLst>
          </p:nvPr>
        </p:nvGraphicFramePr>
        <p:xfrm>
          <a:off x="4675369" y="4421658"/>
          <a:ext cx="2709508" cy="242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430819987"/>
              </p:ext>
            </p:extLst>
          </p:nvPr>
        </p:nvGraphicFramePr>
        <p:xfrm>
          <a:off x="7380313" y="4369394"/>
          <a:ext cx="2532112" cy="242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9" name="Diagram 28"/>
          <p:cNvGraphicFramePr/>
          <p:nvPr>
            <p:extLst>
              <p:ext uri="{D42A27DB-BD31-4B8C-83A1-F6EECF244321}">
                <p14:modId xmlns:p14="http://schemas.microsoft.com/office/powerpoint/2010/main" val="3827201173"/>
              </p:ext>
            </p:extLst>
          </p:nvPr>
        </p:nvGraphicFramePr>
        <p:xfrm>
          <a:off x="7226265" y="1782000"/>
          <a:ext cx="2900383" cy="2091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9589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8" name="Picture 61"/>
          <p:cNvPicPr>
            <a:picLocks noChangeAspect="1" noChangeArrowheads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" y="741365"/>
            <a:ext cx="9124950" cy="570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Szabadkézi sokszög 19"/>
          <p:cNvSpPr/>
          <p:nvPr/>
        </p:nvSpPr>
        <p:spPr bwMode="gray">
          <a:xfrm>
            <a:off x="42456" y="2995538"/>
            <a:ext cx="1567660" cy="1438350"/>
          </a:xfrm>
          <a:custGeom>
            <a:avLst/>
            <a:gdLst>
              <a:gd name="connsiteX0" fmla="*/ 1424394 w 1567660"/>
              <a:gd name="connsiteY0" fmla="*/ 28650 h 1438350"/>
              <a:gd name="connsiteX1" fmla="*/ 1429157 w 1567660"/>
              <a:gd name="connsiteY1" fmla="*/ 90562 h 1438350"/>
              <a:gd name="connsiteX2" fmla="*/ 1443444 w 1567660"/>
              <a:gd name="connsiteY2" fmla="*/ 100087 h 1438350"/>
              <a:gd name="connsiteX3" fmla="*/ 1448207 w 1567660"/>
              <a:gd name="connsiteY3" fmla="*/ 114375 h 1438350"/>
              <a:gd name="connsiteX4" fmla="*/ 1438682 w 1567660"/>
              <a:gd name="connsiteY4" fmla="*/ 147712 h 1438350"/>
              <a:gd name="connsiteX5" fmla="*/ 1429157 w 1567660"/>
              <a:gd name="connsiteY5" fmla="*/ 162000 h 1438350"/>
              <a:gd name="connsiteX6" fmla="*/ 1457732 w 1567660"/>
              <a:gd name="connsiteY6" fmla="*/ 176287 h 1438350"/>
              <a:gd name="connsiteX7" fmla="*/ 1472019 w 1567660"/>
              <a:gd name="connsiteY7" fmla="*/ 185812 h 1438350"/>
              <a:gd name="connsiteX8" fmla="*/ 1500594 w 1567660"/>
              <a:gd name="connsiteY8" fmla="*/ 195337 h 1438350"/>
              <a:gd name="connsiteX9" fmla="*/ 1529169 w 1567660"/>
              <a:gd name="connsiteY9" fmla="*/ 214387 h 1438350"/>
              <a:gd name="connsiteX10" fmla="*/ 1543457 w 1567660"/>
              <a:gd name="connsiteY10" fmla="*/ 223912 h 1438350"/>
              <a:gd name="connsiteX11" fmla="*/ 1552982 w 1567660"/>
              <a:gd name="connsiteY11" fmla="*/ 238200 h 1438350"/>
              <a:gd name="connsiteX12" fmla="*/ 1552982 w 1567660"/>
              <a:gd name="connsiteY12" fmla="*/ 242962 h 1438350"/>
              <a:gd name="connsiteX13" fmla="*/ 1510119 w 1567660"/>
              <a:gd name="connsiteY13" fmla="*/ 257250 h 1438350"/>
              <a:gd name="connsiteX14" fmla="*/ 1491069 w 1567660"/>
              <a:gd name="connsiteY14" fmla="*/ 285825 h 1438350"/>
              <a:gd name="connsiteX15" fmla="*/ 1486307 w 1567660"/>
              <a:gd name="connsiteY15" fmla="*/ 300112 h 1438350"/>
              <a:gd name="connsiteX16" fmla="*/ 1472019 w 1567660"/>
              <a:gd name="connsiteY16" fmla="*/ 304875 h 1438350"/>
              <a:gd name="connsiteX17" fmla="*/ 1433919 w 1567660"/>
              <a:gd name="connsiteY17" fmla="*/ 319162 h 1438350"/>
              <a:gd name="connsiteX18" fmla="*/ 1443444 w 1567660"/>
              <a:gd name="connsiteY18" fmla="*/ 366787 h 1438350"/>
              <a:gd name="connsiteX19" fmla="*/ 1452969 w 1567660"/>
              <a:gd name="connsiteY19" fmla="*/ 381075 h 1438350"/>
              <a:gd name="connsiteX20" fmla="*/ 1462494 w 1567660"/>
              <a:gd name="connsiteY20" fmla="*/ 409650 h 1438350"/>
              <a:gd name="connsiteX21" fmla="*/ 1457732 w 1567660"/>
              <a:gd name="connsiteY21" fmla="*/ 457275 h 1438350"/>
              <a:gd name="connsiteX22" fmla="*/ 1452969 w 1567660"/>
              <a:gd name="connsiteY22" fmla="*/ 471562 h 1438350"/>
              <a:gd name="connsiteX23" fmla="*/ 1443444 w 1567660"/>
              <a:gd name="connsiteY23" fmla="*/ 543000 h 1438350"/>
              <a:gd name="connsiteX24" fmla="*/ 1457732 w 1567660"/>
              <a:gd name="connsiteY24" fmla="*/ 657300 h 1438350"/>
              <a:gd name="connsiteX25" fmla="*/ 1467257 w 1567660"/>
              <a:gd name="connsiteY25" fmla="*/ 671587 h 1438350"/>
              <a:gd name="connsiteX26" fmla="*/ 1462494 w 1567660"/>
              <a:gd name="connsiteY26" fmla="*/ 733500 h 1438350"/>
              <a:gd name="connsiteX27" fmla="*/ 1433919 w 1567660"/>
              <a:gd name="connsiteY27" fmla="*/ 752550 h 1438350"/>
              <a:gd name="connsiteX28" fmla="*/ 1305332 w 1567660"/>
              <a:gd name="connsiteY28" fmla="*/ 757312 h 1438350"/>
              <a:gd name="connsiteX29" fmla="*/ 1291044 w 1567660"/>
              <a:gd name="connsiteY29" fmla="*/ 766837 h 1438350"/>
              <a:gd name="connsiteX30" fmla="*/ 1267232 w 1567660"/>
              <a:gd name="connsiteY30" fmla="*/ 795412 h 1438350"/>
              <a:gd name="connsiteX31" fmla="*/ 1262469 w 1567660"/>
              <a:gd name="connsiteY31" fmla="*/ 847800 h 1438350"/>
              <a:gd name="connsiteX32" fmla="*/ 1238657 w 1567660"/>
              <a:gd name="connsiteY32" fmla="*/ 843037 h 1438350"/>
              <a:gd name="connsiteX33" fmla="*/ 1224369 w 1567660"/>
              <a:gd name="connsiteY33" fmla="*/ 828750 h 1438350"/>
              <a:gd name="connsiteX34" fmla="*/ 1214844 w 1567660"/>
              <a:gd name="connsiteY34" fmla="*/ 814462 h 1438350"/>
              <a:gd name="connsiteX35" fmla="*/ 1200557 w 1567660"/>
              <a:gd name="connsiteY35" fmla="*/ 809700 h 1438350"/>
              <a:gd name="connsiteX36" fmla="*/ 1176744 w 1567660"/>
              <a:gd name="connsiteY36" fmla="*/ 828750 h 1438350"/>
              <a:gd name="connsiteX37" fmla="*/ 1181507 w 1567660"/>
              <a:gd name="connsiteY37" fmla="*/ 847800 h 1438350"/>
              <a:gd name="connsiteX38" fmla="*/ 1176744 w 1567660"/>
              <a:gd name="connsiteY38" fmla="*/ 928762 h 1438350"/>
              <a:gd name="connsiteX39" fmla="*/ 1133882 w 1567660"/>
              <a:gd name="connsiteY39" fmla="*/ 952575 h 1438350"/>
              <a:gd name="connsiteX40" fmla="*/ 1119594 w 1567660"/>
              <a:gd name="connsiteY40" fmla="*/ 962100 h 1438350"/>
              <a:gd name="connsiteX41" fmla="*/ 1105307 w 1567660"/>
              <a:gd name="connsiteY41" fmla="*/ 966862 h 1438350"/>
              <a:gd name="connsiteX42" fmla="*/ 1000532 w 1567660"/>
              <a:gd name="connsiteY42" fmla="*/ 962100 h 1438350"/>
              <a:gd name="connsiteX43" fmla="*/ 971957 w 1567660"/>
              <a:gd name="connsiteY43" fmla="*/ 952575 h 1438350"/>
              <a:gd name="connsiteX44" fmla="*/ 929094 w 1567660"/>
              <a:gd name="connsiteY44" fmla="*/ 957337 h 1438350"/>
              <a:gd name="connsiteX45" fmla="*/ 914807 w 1567660"/>
              <a:gd name="connsiteY45" fmla="*/ 962100 h 1438350"/>
              <a:gd name="connsiteX46" fmla="*/ 895757 w 1567660"/>
              <a:gd name="connsiteY46" fmla="*/ 1009725 h 1438350"/>
              <a:gd name="connsiteX47" fmla="*/ 886232 w 1567660"/>
              <a:gd name="connsiteY47" fmla="*/ 1024012 h 1438350"/>
              <a:gd name="connsiteX48" fmla="*/ 857657 w 1567660"/>
              <a:gd name="connsiteY48" fmla="*/ 1047825 h 1438350"/>
              <a:gd name="connsiteX49" fmla="*/ 843369 w 1567660"/>
              <a:gd name="connsiteY49" fmla="*/ 1052587 h 1438350"/>
              <a:gd name="connsiteX50" fmla="*/ 819557 w 1567660"/>
              <a:gd name="connsiteY50" fmla="*/ 1047825 h 1438350"/>
              <a:gd name="connsiteX51" fmla="*/ 805269 w 1567660"/>
              <a:gd name="connsiteY51" fmla="*/ 1038300 h 1438350"/>
              <a:gd name="connsiteX52" fmla="*/ 790982 w 1567660"/>
              <a:gd name="connsiteY52" fmla="*/ 1033537 h 1438350"/>
              <a:gd name="connsiteX53" fmla="*/ 752882 w 1567660"/>
              <a:gd name="connsiteY53" fmla="*/ 1038300 h 1438350"/>
              <a:gd name="connsiteX54" fmla="*/ 738594 w 1567660"/>
              <a:gd name="connsiteY54" fmla="*/ 1043062 h 1438350"/>
              <a:gd name="connsiteX55" fmla="*/ 695732 w 1567660"/>
              <a:gd name="connsiteY55" fmla="*/ 1052587 h 1438350"/>
              <a:gd name="connsiteX56" fmla="*/ 686207 w 1567660"/>
              <a:gd name="connsiteY56" fmla="*/ 1066875 h 1438350"/>
              <a:gd name="connsiteX57" fmla="*/ 667157 w 1567660"/>
              <a:gd name="connsiteY57" fmla="*/ 1076400 h 1438350"/>
              <a:gd name="connsiteX58" fmla="*/ 652869 w 1567660"/>
              <a:gd name="connsiteY58" fmla="*/ 1090687 h 1438350"/>
              <a:gd name="connsiteX59" fmla="*/ 643344 w 1567660"/>
              <a:gd name="connsiteY59" fmla="*/ 1119262 h 1438350"/>
              <a:gd name="connsiteX60" fmla="*/ 624294 w 1567660"/>
              <a:gd name="connsiteY60" fmla="*/ 1147837 h 1438350"/>
              <a:gd name="connsiteX61" fmla="*/ 614769 w 1567660"/>
              <a:gd name="connsiteY61" fmla="*/ 1162125 h 1438350"/>
              <a:gd name="connsiteX62" fmla="*/ 586194 w 1567660"/>
              <a:gd name="connsiteY62" fmla="*/ 1176412 h 1438350"/>
              <a:gd name="connsiteX63" fmla="*/ 571907 w 1567660"/>
              <a:gd name="connsiteY63" fmla="*/ 1185937 h 1438350"/>
              <a:gd name="connsiteX64" fmla="*/ 562382 w 1567660"/>
              <a:gd name="connsiteY64" fmla="*/ 1200225 h 1438350"/>
              <a:gd name="connsiteX65" fmla="*/ 548094 w 1567660"/>
              <a:gd name="connsiteY65" fmla="*/ 1204987 h 1438350"/>
              <a:gd name="connsiteX66" fmla="*/ 505232 w 1567660"/>
              <a:gd name="connsiteY66" fmla="*/ 1238325 h 1438350"/>
              <a:gd name="connsiteX67" fmla="*/ 495707 w 1567660"/>
              <a:gd name="connsiteY67" fmla="*/ 1285950 h 1438350"/>
              <a:gd name="connsiteX68" fmla="*/ 486182 w 1567660"/>
              <a:gd name="connsiteY68" fmla="*/ 1300237 h 1438350"/>
              <a:gd name="connsiteX69" fmla="*/ 471894 w 1567660"/>
              <a:gd name="connsiteY69" fmla="*/ 1305000 h 1438350"/>
              <a:gd name="connsiteX70" fmla="*/ 448082 w 1567660"/>
              <a:gd name="connsiteY70" fmla="*/ 1338337 h 1438350"/>
              <a:gd name="connsiteX71" fmla="*/ 433794 w 1567660"/>
              <a:gd name="connsiteY71" fmla="*/ 1347862 h 1438350"/>
              <a:gd name="connsiteX72" fmla="*/ 381407 w 1567660"/>
              <a:gd name="connsiteY72" fmla="*/ 1338337 h 1438350"/>
              <a:gd name="connsiteX73" fmla="*/ 309969 w 1567660"/>
              <a:gd name="connsiteY73" fmla="*/ 1328812 h 1438350"/>
              <a:gd name="connsiteX74" fmla="*/ 338544 w 1567660"/>
              <a:gd name="connsiteY74" fmla="*/ 1338337 h 1438350"/>
              <a:gd name="connsiteX75" fmla="*/ 357594 w 1567660"/>
              <a:gd name="connsiteY75" fmla="*/ 1362150 h 1438350"/>
              <a:gd name="connsiteX76" fmla="*/ 371882 w 1567660"/>
              <a:gd name="connsiteY76" fmla="*/ 1400250 h 1438350"/>
              <a:gd name="connsiteX77" fmla="*/ 362357 w 1567660"/>
              <a:gd name="connsiteY77" fmla="*/ 1419300 h 1438350"/>
              <a:gd name="connsiteX78" fmla="*/ 357594 w 1567660"/>
              <a:gd name="connsiteY78" fmla="*/ 1433587 h 1438350"/>
              <a:gd name="connsiteX79" fmla="*/ 343307 w 1567660"/>
              <a:gd name="connsiteY79" fmla="*/ 1438350 h 1438350"/>
              <a:gd name="connsiteX80" fmla="*/ 300444 w 1567660"/>
              <a:gd name="connsiteY80" fmla="*/ 1433587 h 1438350"/>
              <a:gd name="connsiteX81" fmla="*/ 281394 w 1567660"/>
              <a:gd name="connsiteY81" fmla="*/ 1409775 h 1438350"/>
              <a:gd name="connsiteX82" fmla="*/ 276632 w 1567660"/>
              <a:gd name="connsiteY82" fmla="*/ 1385962 h 1438350"/>
              <a:gd name="connsiteX83" fmla="*/ 267107 w 1567660"/>
              <a:gd name="connsiteY83" fmla="*/ 1352625 h 1438350"/>
              <a:gd name="connsiteX84" fmla="*/ 262344 w 1567660"/>
              <a:gd name="connsiteY84" fmla="*/ 1333575 h 1438350"/>
              <a:gd name="connsiteX85" fmla="*/ 267107 w 1567660"/>
              <a:gd name="connsiteY85" fmla="*/ 1309762 h 1438350"/>
              <a:gd name="connsiteX86" fmla="*/ 281394 w 1567660"/>
              <a:gd name="connsiteY86" fmla="*/ 1305000 h 1438350"/>
              <a:gd name="connsiteX87" fmla="*/ 305207 w 1567660"/>
              <a:gd name="connsiteY87" fmla="*/ 1276425 h 1438350"/>
              <a:gd name="connsiteX88" fmla="*/ 305207 w 1567660"/>
              <a:gd name="connsiteY88" fmla="*/ 1238325 h 1438350"/>
              <a:gd name="connsiteX89" fmla="*/ 286157 w 1567660"/>
              <a:gd name="connsiteY89" fmla="*/ 1228800 h 1438350"/>
              <a:gd name="connsiteX90" fmla="*/ 276632 w 1567660"/>
              <a:gd name="connsiteY90" fmla="*/ 1209750 h 1438350"/>
              <a:gd name="connsiteX91" fmla="*/ 257582 w 1567660"/>
              <a:gd name="connsiteY91" fmla="*/ 1166887 h 1438350"/>
              <a:gd name="connsiteX92" fmla="*/ 238532 w 1567660"/>
              <a:gd name="connsiteY92" fmla="*/ 1162125 h 1438350"/>
              <a:gd name="connsiteX93" fmla="*/ 133757 w 1567660"/>
              <a:gd name="connsiteY93" fmla="*/ 1157362 h 1438350"/>
              <a:gd name="connsiteX94" fmla="*/ 86132 w 1567660"/>
              <a:gd name="connsiteY94" fmla="*/ 1171650 h 1438350"/>
              <a:gd name="connsiteX95" fmla="*/ 57557 w 1567660"/>
              <a:gd name="connsiteY95" fmla="*/ 1185937 h 1438350"/>
              <a:gd name="connsiteX96" fmla="*/ 24219 w 1567660"/>
              <a:gd name="connsiteY96" fmla="*/ 1176412 h 1438350"/>
              <a:gd name="connsiteX97" fmla="*/ 5169 w 1567660"/>
              <a:gd name="connsiteY97" fmla="*/ 1166887 h 1438350"/>
              <a:gd name="connsiteX98" fmla="*/ 407 w 1567660"/>
              <a:gd name="connsiteY98" fmla="*/ 1152600 h 1438350"/>
              <a:gd name="connsiteX99" fmla="*/ 14694 w 1567660"/>
              <a:gd name="connsiteY99" fmla="*/ 1143075 h 1438350"/>
              <a:gd name="connsiteX100" fmla="*/ 24219 w 1567660"/>
              <a:gd name="connsiteY100" fmla="*/ 1128787 h 1438350"/>
              <a:gd name="connsiteX101" fmla="*/ 38507 w 1567660"/>
              <a:gd name="connsiteY101" fmla="*/ 1114500 h 1438350"/>
              <a:gd name="connsiteX102" fmla="*/ 57557 w 1567660"/>
              <a:gd name="connsiteY102" fmla="*/ 1090687 h 1438350"/>
              <a:gd name="connsiteX103" fmla="*/ 62319 w 1567660"/>
              <a:gd name="connsiteY103" fmla="*/ 1076400 h 1438350"/>
              <a:gd name="connsiteX104" fmla="*/ 81369 w 1567660"/>
              <a:gd name="connsiteY104" fmla="*/ 1047825 h 1438350"/>
              <a:gd name="connsiteX105" fmla="*/ 86132 w 1567660"/>
              <a:gd name="connsiteY105" fmla="*/ 1033537 h 1438350"/>
              <a:gd name="connsiteX106" fmla="*/ 100419 w 1567660"/>
              <a:gd name="connsiteY106" fmla="*/ 1028775 h 1438350"/>
              <a:gd name="connsiteX107" fmla="*/ 114707 w 1567660"/>
              <a:gd name="connsiteY107" fmla="*/ 1019250 h 1438350"/>
              <a:gd name="connsiteX108" fmla="*/ 128994 w 1567660"/>
              <a:gd name="connsiteY108" fmla="*/ 1014487 h 1438350"/>
              <a:gd name="connsiteX109" fmla="*/ 143282 w 1567660"/>
              <a:gd name="connsiteY109" fmla="*/ 1000200 h 1438350"/>
              <a:gd name="connsiteX110" fmla="*/ 171857 w 1567660"/>
              <a:gd name="connsiteY110" fmla="*/ 990675 h 1438350"/>
              <a:gd name="connsiteX111" fmla="*/ 186144 w 1567660"/>
              <a:gd name="connsiteY111" fmla="*/ 985912 h 1438350"/>
              <a:gd name="connsiteX112" fmla="*/ 200432 w 1567660"/>
              <a:gd name="connsiteY112" fmla="*/ 938287 h 1438350"/>
              <a:gd name="connsiteX113" fmla="*/ 205194 w 1567660"/>
              <a:gd name="connsiteY113" fmla="*/ 952575 h 1438350"/>
              <a:gd name="connsiteX114" fmla="*/ 219482 w 1567660"/>
              <a:gd name="connsiteY114" fmla="*/ 900187 h 1438350"/>
              <a:gd name="connsiteX115" fmla="*/ 248057 w 1567660"/>
              <a:gd name="connsiteY115" fmla="*/ 885900 h 1438350"/>
              <a:gd name="connsiteX116" fmla="*/ 286157 w 1567660"/>
              <a:gd name="connsiteY116" fmla="*/ 890662 h 1438350"/>
              <a:gd name="connsiteX117" fmla="*/ 300444 w 1567660"/>
              <a:gd name="connsiteY117" fmla="*/ 895425 h 1438350"/>
              <a:gd name="connsiteX118" fmla="*/ 429032 w 1567660"/>
              <a:gd name="connsiteY118" fmla="*/ 904950 h 1438350"/>
              <a:gd name="connsiteX119" fmla="*/ 443319 w 1567660"/>
              <a:gd name="connsiteY119" fmla="*/ 909712 h 1438350"/>
              <a:gd name="connsiteX120" fmla="*/ 476657 w 1567660"/>
              <a:gd name="connsiteY120" fmla="*/ 900187 h 1438350"/>
              <a:gd name="connsiteX121" fmla="*/ 476657 w 1567660"/>
              <a:gd name="connsiteY121" fmla="*/ 857325 h 1438350"/>
              <a:gd name="connsiteX122" fmla="*/ 457607 w 1567660"/>
              <a:gd name="connsiteY122" fmla="*/ 843037 h 1438350"/>
              <a:gd name="connsiteX123" fmla="*/ 452844 w 1567660"/>
              <a:gd name="connsiteY123" fmla="*/ 828750 h 1438350"/>
              <a:gd name="connsiteX124" fmla="*/ 490944 w 1567660"/>
              <a:gd name="connsiteY124" fmla="*/ 804937 h 1438350"/>
              <a:gd name="connsiteX125" fmla="*/ 500469 w 1567660"/>
              <a:gd name="connsiteY125" fmla="*/ 785887 h 1438350"/>
              <a:gd name="connsiteX126" fmla="*/ 514757 w 1567660"/>
              <a:gd name="connsiteY126" fmla="*/ 781125 h 1438350"/>
              <a:gd name="connsiteX127" fmla="*/ 543332 w 1567660"/>
              <a:gd name="connsiteY127" fmla="*/ 776362 h 1438350"/>
              <a:gd name="connsiteX128" fmla="*/ 524282 w 1567660"/>
              <a:gd name="connsiteY128" fmla="*/ 762075 h 1438350"/>
              <a:gd name="connsiteX129" fmla="*/ 509994 w 1567660"/>
              <a:gd name="connsiteY129" fmla="*/ 752550 h 1438350"/>
              <a:gd name="connsiteX130" fmla="*/ 486182 w 1567660"/>
              <a:gd name="connsiteY130" fmla="*/ 728737 h 1438350"/>
              <a:gd name="connsiteX131" fmla="*/ 481419 w 1567660"/>
              <a:gd name="connsiteY131" fmla="*/ 714450 h 1438350"/>
              <a:gd name="connsiteX132" fmla="*/ 500469 w 1567660"/>
              <a:gd name="connsiteY132" fmla="*/ 681112 h 1438350"/>
              <a:gd name="connsiteX133" fmla="*/ 514757 w 1567660"/>
              <a:gd name="connsiteY133" fmla="*/ 676350 h 1438350"/>
              <a:gd name="connsiteX134" fmla="*/ 529044 w 1567660"/>
              <a:gd name="connsiteY134" fmla="*/ 666825 h 1438350"/>
              <a:gd name="connsiteX135" fmla="*/ 533807 w 1567660"/>
              <a:gd name="connsiteY135" fmla="*/ 619200 h 1438350"/>
              <a:gd name="connsiteX136" fmla="*/ 538569 w 1567660"/>
              <a:gd name="connsiteY136" fmla="*/ 604912 h 1438350"/>
              <a:gd name="connsiteX137" fmla="*/ 524282 w 1567660"/>
              <a:gd name="connsiteY137" fmla="*/ 595387 h 1438350"/>
              <a:gd name="connsiteX138" fmla="*/ 471894 w 1567660"/>
              <a:gd name="connsiteY138" fmla="*/ 595387 h 1438350"/>
              <a:gd name="connsiteX139" fmla="*/ 457607 w 1567660"/>
              <a:gd name="connsiteY139" fmla="*/ 600150 h 1438350"/>
              <a:gd name="connsiteX140" fmla="*/ 448082 w 1567660"/>
              <a:gd name="connsiteY140" fmla="*/ 581100 h 1438350"/>
              <a:gd name="connsiteX141" fmla="*/ 462369 w 1567660"/>
              <a:gd name="connsiteY141" fmla="*/ 571575 h 1438350"/>
              <a:gd name="connsiteX142" fmla="*/ 452844 w 1567660"/>
              <a:gd name="connsiteY142" fmla="*/ 533475 h 1438350"/>
              <a:gd name="connsiteX143" fmla="*/ 438557 w 1567660"/>
              <a:gd name="connsiteY143" fmla="*/ 519187 h 1438350"/>
              <a:gd name="connsiteX144" fmla="*/ 419507 w 1567660"/>
              <a:gd name="connsiteY144" fmla="*/ 514425 h 1438350"/>
              <a:gd name="connsiteX145" fmla="*/ 405219 w 1567660"/>
              <a:gd name="connsiteY145" fmla="*/ 509662 h 1438350"/>
              <a:gd name="connsiteX146" fmla="*/ 419507 w 1567660"/>
              <a:gd name="connsiteY146" fmla="*/ 462037 h 1438350"/>
              <a:gd name="connsiteX147" fmla="*/ 429032 w 1567660"/>
              <a:gd name="connsiteY147" fmla="*/ 438225 h 1438350"/>
              <a:gd name="connsiteX148" fmla="*/ 448082 w 1567660"/>
              <a:gd name="connsiteY148" fmla="*/ 404887 h 1438350"/>
              <a:gd name="connsiteX149" fmla="*/ 467132 w 1567660"/>
              <a:gd name="connsiteY149" fmla="*/ 400125 h 1438350"/>
              <a:gd name="connsiteX150" fmla="*/ 476657 w 1567660"/>
              <a:gd name="connsiteY150" fmla="*/ 385837 h 1438350"/>
              <a:gd name="connsiteX151" fmla="*/ 481419 w 1567660"/>
              <a:gd name="connsiteY151" fmla="*/ 366787 h 1438350"/>
              <a:gd name="connsiteX152" fmla="*/ 471894 w 1567660"/>
              <a:gd name="connsiteY152" fmla="*/ 238200 h 1438350"/>
              <a:gd name="connsiteX153" fmla="*/ 457607 w 1567660"/>
              <a:gd name="connsiteY153" fmla="*/ 233437 h 1438350"/>
              <a:gd name="connsiteX154" fmla="*/ 448082 w 1567660"/>
              <a:gd name="connsiteY154" fmla="*/ 219150 h 1438350"/>
              <a:gd name="connsiteX155" fmla="*/ 433794 w 1567660"/>
              <a:gd name="connsiteY155" fmla="*/ 204862 h 1438350"/>
              <a:gd name="connsiteX156" fmla="*/ 429032 w 1567660"/>
              <a:gd name="connsiteY156" fmla="*/ 190575 h 1438350"/>
              <a:gd name="connsiteX157" fmla="*/ 438557 w 1567660"/>
              <a:gd name="connsiteY157" fmla="*/ 147712 h 1438350"/>
              <a:gd name="connsiteX158" fmla="*/ 452844 w 1567660"/>
              <a:gd name="connsiteY158" fmla="*/ 104850 h 1438350"/>
              <a:gd name="connsiteX159" fmla="*/ 481419 w 1567660"/>
              <a:gd name="connsiteY159" fmla="*/ 90562 h 1438350"/>
              <a:gd name="connsiteX160" fmla="*/ 495707 w 1567660"/>
              <a:gd name="connsiteY160" fmla="*/ 95325 h 1438350"/>
              <a:gd name="connsiteX161" fmla="*/ 509994 w 1567660"/>
              <a:gd name="connsiteY161" fmla="*/ 104850 h 1438350"/>
              <a:gd name="connsiteX162" fmla="*/ 524282 w 1567660"/>
              <a:gd name="connsiteY162" fmla="*/ 100087 h 1438350"/>
              <a:gd name="connsiteX163" fmla="*/ 543332 w 1567660"/>
              <a:gd name="connsiteY163" fmla="*/ 76275 h 1438350"/>
              <a:gd name="connsiteX164" fmla="*/ 562382 w 1567660"/>
              <a:gd name="connsiteY164" fmla="*/ 81037 h 1438350"/>
              <a:gd name="connsiteX165" fmla="*/ 576669 w 1567660"/>
              <a:gd name="connsiteY165" fmla="*/ 90562 h 1438350"/>
              <a:gd name="connsiteX166" fmla="*/ 605244 w 1567660"/>
              <a:gd name="connsiteY166" fmla="*/ 81037 h 1438350"/>
              <a:gd name="connsiteX167" fmla="*/ 619532 w 1567660"/>
              <a:gd name="connsiteY167" fmla="*/ 66750 h 1438350"/>
              <a:gd name="connsiteX168" fmla="*/ 629057 w 1567660"/>
              <a:gd name="connsiteY168" fmla="*/ 52462 h 1438350"/>
              <a:gd name="connsiteX169" fmla="*/ 643344 w 1567660"/>
              <a:gd name="connsiteY169" fmla="*/ 47700 h 1438350"/>
              <a:gd name="connsiteX170" fmla="*/ 657632 w 1567660"/>
              <a:gd name="connsiteY170" fmla="*/ 38175 h 1438350"/>
              <a:gd name="connsiteX171" fmla="*/ 667157 w 1567660"/>
              <a:gd name="connsiteY171" fmla="*/ 23887 h 1438350"/>
              <a:gd name="connsiteX172" fmla="*/ 681444 w 1567660"/>
              <a:gd name="connsiteY172" fmla="*/ 19125 h 1438350"/>
              <a:gd name="connsiteX173" fmla="*/ 690969 w 1567660"/>
              <a:gd name="connsiteY173" fmla="*/ 4837 h 1438350"/>
              <a:gd name="connsiteX174" fmla="*/ 738594 w 1567660"/>
              <a:gd name="connsiteY174" fmla="*/ 4837 h 1438350"/>
              <a:gd name="connsiteX175" fmla="*/ 743357 w 1567660"/>
              <a:gd name="connsiteY175" fmla="*/ 57225 h 1438350"/>
              <a:gd name="connsiteX176" fmla="*/ 867182 w 1567660"/>
              <a:gd name="connsiteY176" fmla="*/ 47700 h 1438350"/>
              <a:gd name="connsiteX177" fmla="*/ 910044 w 1567660"/>
              <a:gd name="connsiteY177" fmla="*/ 28650 h 1438350"/>
              <a:gd name="connsiteX178" fmla="*/ 924332 w 1567660"/>
              <a:gd name="connsiteY178" fmla="*/ 23887 h 1438350"/>
              <a:gd name="connsiteX179" fmla="*/ 986244 w 1567660"/>
              <a:gd name="connsiteY179" fmla="*/ 33412 h 1438350"/>
              <a:gd name="connsiteX180" fmla="*/ 1005294 w 1567660"/>
              <a:gd name="connsiteY180" fmla="*/ 42937 h 1438350"/>
              <a:gd name="connsiteX181" fmla="*/ 1033869 w 1567660"/>
              <a:gd name="connsiteY181" fmla="*/ 52462 h 1438350"/>
              <a:gd name="connsiteX182" fmla="*/ 1048157 w 1567660"/>
              <a:gd name="connsiteY182" fmla="*/ 57225 h 1438350"/>
              <a:gd name="connsiteX183" fmla="*/ 1062444 w 1567660"/>
              <a:gd name="connsiteY183" fmla="*/ 61987 h 1438350"/>
              <a:gd name="connsiteX184" fmla="*/ 1076732 w 1567660"/>
              <a:gd name="connsiteY184" fmla="*/ 71512 h 1438350"/>
              <a:gd name="connsiteX185" fmla="*/ 1105307 w 1567660"/>
              <a:gd name="connsiteY185" fmla="*/ 81037 h 1438350"/>
              <a:gd name="connsiteX186" fmla="*/ 1148169 w 1567660"/>
              <a:gd name="connsiteY186" fmla="*/ 71512 h 1438350"/>
              <a:gd name="connsiteX187" fmla="*/ 1176744 w 1567660"/>
              <a:gd name="connsiteY187" fmla="*/ 52462 h 1438350"/>
              <a:gd name="connsiteX188" fmla="*/ 1195794 w 1567660"/>
              <a:gd name="connsiteY188" fmla="*/ 23887 h 1438350"/>
              <a:gd name="connsiteX189" fmla="*/ 1224369 w 1567660"/>
              <a:gd name="connsiteY189" fmla="*/ 4837 h 1438350"/>
              <a:gd name="connsiteX190" fmla="*/ 1248182 w 1567660"/>
              <a:gd name="connsiteY190" fmla="*/ 9600 h 1438350"/>
              <a:gd name="connsiteX191" fmla="*/ 1257707 w 1567660"/>
              <a:gd name="connsiteY191" fmla="*/ 38175 h 1438350"/>
              <a:gd name="connsiteX192" fmla="*/ 1267232 w 1567660"/>
              <a:gd name="connsiteY192" fmla="*/ 52462 h 1438350"/>
              <a:gd name="connsiteX193" fmla="*/ 1267232 w 1567660"/>
              <a:gd name="connsiteY193" fmla="*/ 90562 h 1438350"/>
              <a:gd name="connsiteX194" fmla="*/ 1252944 w 1567660"/>
              <a:gd name="connsiteY194" fmla="*/ 100087 h 1438350"/>
              <a:gd name="connsiteX195" fmla="*/ 1271994 w 1567660"/>
              <a:gd name="connsiteY195" fmla="*/ 95325 h 1438350"/>
              <a:gd name="connsiteX196" fmla="*/ 1329144 w 1567660"/>
              <a:gd name="connsiteY196" fmla="*/ 57225 h 1438350"/>
              <a:gd name="connsiteX197" fmla="*/ 1343432 w 1567660"/>
              <a:gd name="connsiteY197" fmla="*/ 47700 h 1438350"/>
              <a:gd name="connsiteX198" fmla="*/ 1424394 w 1567660"/>
              <a:gd name="connsiteY198" fmla="*/ 28650 h 143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</a:cxnLst>
            <a:rect l="l" t="t" r="r" b="b"/>
            <a:pathLst>
              <a:path w="1567660" h="1438350">
                <a:moveTo>
                  <a:pt x="1424394" y="28650"/>
                </a:moveTo>
                <a:cubicBezTo>
                  <a:pt x="1425982" y="49287"/>
                  <a:pt x="1423824" y="70563"/>
                  <a:pt x="1429157" y="90562"/>
                </a:cubicBezTo>
                <a:cubicBezTo>
                  <a:pt x="1430632" y="96092"/>
                  <a:pt x="1439868" y="95618"/>
                  <a:pt x="1443444" y="100087"/>
                </a:cubicBezTo>
                <a:cubicBezTo>
                  <a:pt x="1446580" y="104007"/>
                  <a:pt x="1446619" y="109612"/>
                  <a:pt x="1448207" y="114375"/>
                </a:cubicBezTo>
                <a:cubicBezTo>
                  <a:pt x="1446682" y="120474"/>
                  <a:pt x="1442097" y="140883"/>
                  <a:pt x="1438682" y="147712"/>
                </a:cubicBezTo>
                <a:cubicBezTo>
                  <a:pt x="1436122" y="152832"/>
                  <a:pt x="1432332" y="157237"/>
                  <a:pt x="1429157" y="162000"/>
                </a:cubicBezTo>
                <a:cubicBezTo>
                  <a:pt x="1470100" y="189297"/>
                  <a:pt x="1418297" y="156570"/>
                  <a:pt x="1457732" y="176287"/>
                </a:cubicBezTo>
                <a:cubicBezTo>
                  <a:pt x="1462851" y="178847"/>
                  <a:pt x="1466789" y="183487"/>
                  <a:pt x="1472019" y="185812"/>
                </a:cubicBezTo>
                <a:cubicBezTo>
                  <a:pt x="1481194" y="189890"/>
                  <a:pt x="1500594" y="195337"/>
                  <a:pt x="1500594" y="195337"/>
                </a:cubicBezTo>
                <a:lnTo>
                  <a:pt x="1529169" y="214387"/>
                </a:lnTo>
                <a:lnTo>
                  <a:pt x="1543457" y="223912"/>
                </a:lnTo>
                <a:cubicBezTo>
                  <a:pt x="1546632" y="228675"/>
                  <a:pt x="1548935" y="234152"/>
                  <a:pt x="1552982" y="238200"/>
                </a:cubicBezTo>
                <a:cubicBezTo>
                  <a:pt x="1562213" y="247432"/>
                  <a:pt x="1580796" y="252235"/>
                  <a:pt x="1552982" y="242962"/>
                </a:cubicBezTo>
                <a:cubicBezTo>
                  <a:pt x="1537132" y="245604"/>
                  <a:pt x="1521552" y="244184"/>
                  <a:pt x="1510119" y="257250"/>
                </a:cubicBezTo>
                <a:cubicBezTo>
                  <a:pt x="1502581" y="265865"/>
                  <a:pt x="1491069" y="285825"/>
                  <a:pt x="1491069" y="285825"/>
                </a:cubicBezTo>
                <a:cubicBezTo>
                  <a:pt x="1489482" y="290587"/>
                  <a:pt x="1489857" y="296562"/>
                  <a:pt x="1486307" y="300112"/>
                </a:cubicBezTo>
                <a:cubicBezTo>
                  <a:pt x="1482757" y="303662"/>
                  <a:pt x="1476509" y="302630"/>
                  <a:pt x="1472019" y="304875"/>
                </a:cubicBezTo>
                <a:cubicBezTo>
                  <a:pt x="1439319" y="321226"/>
                  <a:pt x="1479860" y="309975"/>
                  <a:pt x="1433919" y="319162"/>
                </a:cubicBezTo>
                <a:cubicBezTo>
                  <a:pt x="1434993" y="325603"/>
                  <a:pt x="1439570" y="357748"/>
                  <a:pt x="1443444" y="366787"/>
                </a:cubicBezTo>
                <a:cubicBezTo>
                  <a:pt x="1445699" y="372048"/>
                  <a:pt x="1450644" y="375844"/>
                  <a:pt x="1452969" y="381075"/>
                </a:cubicBezTo>
                <a:cubicBezTo>
                  <a:pt x="1457047" y="390250"/>
                  <a:pt x="1462494" y="409650"/>
                  <a:pt x="1462494" y="409650"/>
                </a:cubicBezTo>
                <a:cubicBezTo>
                  <a:pt x="1460907" y="425525"/>
                  <a:pt x="1460158" y="441506"/>
                  <a:pt x="1457732" y="457275"/>
                </a:cubicBezTo>
                <a:cubicBezTo>
                  <a:pt x="1456969" y="462237"/>
                  <a:pt x="1453632" y="466586"/>
                  <a:pt x="1452969" y="471562"/>
                </a:cubicBezTo>
                <a:cubicBezTo>
                  <a:pt x="1442610" y="549255"/>
                  <a:pt x="1455613" y="506496"/>
                  <a:pt x="1443444" y="543000"/>
                </a:cubicBezTo>
                <a:cubicBezTo>
                  <a:pt x="1448764" y="638750"/>
                  <a:pt x="1439157" y="601575"/>
                  <a:pt x="1457732" y="657300"/>
                </a:cubicBezTo>
                <a:cubicBezTo>
                  <a:pt x="1459542" y="662730"/>
                  <a:pt x="1464082" y="666825"/>
                  <a:pt x="1467257" y="671587"/>
                </a:cubicBezTo>
                <a:cubicBezTo>
                  <a:pt x="1465669" y="692225"/>
                  <a:pt x="1470375" y="714360"/>
                  <a:pt x="1462494" y="733500"/>
                </a:cubicBezTo>
                <a:cubicBezTo>
                  <a:pt x="1458135" y="744085"/>
                  <a:pt x="1443444" y="746200"/>
                  <a:pt x="1433919" y="752550"/>
                </a:cubicBezTo>
                <a:cubicBezTo>
                  <a:pt x="1398231" y="776342"/>
                  <a:pt x="1348194" y="755725"/>
                  <a:pt x="1305332" y="757312"/>
                </a:cubicBezTo>
                <a:cubicBezTo>
                  <a:pt x="1300569" y="760487"/>
                  <a:pt x="1295441" y="763173"/>
                  <a:pt x="1291044" y="766837"/>
                </a:cubicBezTo>
                <a:cubicBezTo>
                  <a:pt x="1277295" y="778294"/>
                  <a:pt x="1276596" y="781366"/>
                  <a:pt x="1267232" y="795412"/>
                </a:cubicBezTo>
                <a:cubicBezTo>
                  <a:pt x="1270066" y="809583"/>
                  <a:pt x="1279387" y="835716"/>
                  <a:pt x="1262469" y="847800"/>
                </a:cubicBezTo>
                <a:cubicBezTo>
                  <a:pt x="1255882" y="852505"/>
                  <a:pt x="1246594" y="844625"/>
                  <a:pt x="1238657" y="843037"/>
                </a:cubicBezTo>
                <a:cubicBezTo>
                  <a:pt x="1233894" y="838275"/>
                  <a:pt x="1228681" y="833924"/>
                  <a:pt x="1224369" y="828750"/>
                </a:cubicBezTo>
                <a:cubicBezTo>
                  <a:pt x="1220705" y="824353"/>
                  <a:pt x="1219314" y="818038"/>
                  <a:pt x="1214844" y="814462"/>
                </a:cubicBezTo>
                <a:cubicBezTo>
                  <a:pt x="1210924" y="811326"/>
                  <a:pt x="1205319" y="811287"/>
                  <a:pt x="1200557" y="809700"/>
                </a:cubicBezTo>
                <a:cubicBezTo>
                  <a:pt x="1189746" y="813303"/>
                  <a:pt x="1178898" y="813670"/>
                  <a:pt x="1176744" y="828750"/>
                </a:cubicBezTo>
                <a:cubicBezTo>
                  <a:pt x="1175818" y="835230"/>
                  <a:pt x="1179919" y="841450"/>
                  <a:pt x="1181507" y="847800"/>
                </a:cubicBezTo>
                <a:cubicBezTo>
                  <a:pt x="1179919" y="874787"/>
                  <a:pt x="1185293" y="903115"/>
                  <a:pt x="1176744" y="928762"/>
                </a:cubicBezTo>
                <a:cubicBezTo>
                  <a:pt x="1170738" y="946779"/>
                  <a:pt x="1147300" y="945866"/>
                  <a:pt x="1133882" y="952575"/>
                </a:cubicBezTo>
                <a:cubicBezTo>
                  <a:pt x="1128762" y="955135"/>
                  <a:pt x="1124714" y="959540"/>
                  <a:pt x="1119594" y="962100"/>
                </a:cubicBezTo>
                <a:cubicBezTo>
                  <a:pt x="1115104" y="964345"/>
                  <a:pt x="1110069" y="965275"/>
                  <a:pt x="1105307" y="966862"/>
                </a:cubicBezTo>
                <a:cubicBezTo>
                  <a:pt x="1070382" y="965275"/>
                  <a:pt x="1035294" y="965824"/>
                  <a:pt x="1000532" y="962100"/>
                </a:cubicBezTo>
                <a:cubicBezTo>
                  <a:pt x="990549" y="961030"/>
                  <a:pt x="971957" y="952575"/>
                  <a:pt x="971957" y="952575"/>
                </a:cubicBezTo>
                <a:cubicBezTo>
                  <a:pt x="957669" y="954162"/>
                  <a:pt x="943274" y="954974"/>
                  <a:pt x="929094" y="957337"/>
                </a:cubicBezTo>
                <a:cubicBezTo>
                  <a:pt x="924142" y="958162"/>
                  <a:pt x="918357" y="958550"/>
                  <a:pt x="914807" y="962100"/>
                </a:cubicBezTo>
                <a:cubicBezTo>
                  <a:pt x="903853" y="973055"/>
                  <a:pt x="903199" y="998563"/>
                  <a:pt x="895757" y="1009725"/>
                </a:cubicBezTo>
                <a:cubicBezTo>
                  <a:pt x="892582" y="1014487"/>
                  <a:pt x="889896" y="1019615"/>
                  <a:pt x="886232" y="1024012"/>
                </a:cubicBezTo>
                <a:cubicBezTo>
                  <a:pt x="878709" y="1033039"/>
                  <a:pt x="868360" y="1042474"/>
                  <a:pt x="857657" y="1047825"/>
                </a:cubicBezTo>
                <a:cubicBezTo>
                  <a:pt x="853167" y="1050070"/>
                  <a:pt x="848132" y="1051000"/>
                  <a:pt x="843369" y="1052587"/>
                </a:cubicBezTo>
                <a:cubicBezTo>
                  <a:pt x="835432" y="1051000"/>
                  <a:pt x="827136" y="1050667"/>
                  <a:pt x="819557" y="1047825"/>
                </a:cubicBezTo>
                <a:cubicBezTo>
                  <a:pt x="814197" y="1045815"/>
                  <a:pt x="810389" y="1040860"/>
                  <a:pt x="805269" y="1038300"/>
                </a:cubicBezTo>
                <a:cubicBezTo>
                  <a:pt x="800779" y="1036055"/>
                  <a:pt x="795744" y="1035125"/>
                  <a:pt x="790982" y="1033537"/>
                </a:cubicBezTo>
                <a:cubicBezTo>
                  <a:pt x="778282" y="1035125"/>
                  <a:pt x="765474" y="1036010"/>
                  <a:pt x="752882" y="1038300"/>
                </a:cubicBezTo>
                <a:cubicBezTo>
                  <a:pt x="747943" y="1039198"/>
                  <a:pt x="743495" y="1041973"/>
                  <a:pt x="738594" y="1043062"/>
                </a:cubicBezTo>
                <a:cubicBezTo>
                  <a:pt x="688307" y="1054237"/>
                  <a:pt x="727893" y="1041867"/>
                  <a:pt x="695732" y="1052587"/>
                </a:cubicBezTo>
                <a:cubicBezTo>
                  <a:pt x="692557" y="1057350"/>
                  <a:pt x="690604" y="1063211"/>
                  <a:pt x="686207" y="1066875"/>
                </a:cubicBezTo>
                <a:cubicBezTo>
                  <a:pt x="680753" y="1071420"/>
                  <a:pt x="672934" y="1072274"/>
                  <a:pt x="667157" y="1076400"/>
                </a:cubicBezTo>
                <a:cubicBezTo>
                  <a:pt x="661676" y="1080315"/>
                  <a:pt x="657632" y="1085925"/>
                  <a:pt x="652869" y="1090687"/>
                </a:cubicBezTo>
                <a:lnTo>
                  <a:pt x="643344" y="1119262"/>
                </a:lnTo>
                <a:cubicBezTo>
                  <a:pt x="639724" y="1130122"/>
                  <a:pt x="630644" y="1138312"/>
                  <a:pt x="624294" y="1147837"/>
                </a:cubicBezTo>
                <a:lnTo>
                  <a:pt x="614769" y="1162125"/>
                </a:lnTo>
                <a:cubicBezTo>
                  <a:pt x="609493" y="1170039"/>
                  <a:pt x="594345" y="1173695"/>
                  <a:pt x="586194" y="1176412"/>
                </a:cubicBezTo>
                <a:cubicBezTo>
                  <a:pt x="581432" y="1179587"/>
                  <a:pt x="575954" y="1181890"/>
                  <a:pt x="571907" y="1185937"/>
                </a:cubicBezTo>
                <a:cubicBezTo>
                  <a:pt x="567860" y="1189985"/>
                  <a:pt x="566852" y="1196649"/>
                  <a:pt x="562382" y="1200225"/>
                </a:cubicBezTo>
                <a:cubicBezTo>
                  <a:pt x="558462" y="1203361"/>
                  <a:pt x="552857" y="1203400"/>
                  <a:pt x="548094" y="1204987"/>
                </a:cubicBezTo>
                <a:cubicBezTo>
                  <a:pt x="513915" y="1227773"/>
                  <a:pt x="527613" y="1215942"/>
                  <a:pt x="505232" y="1238325"/>
                </a:cubicBezTo>
                <a:cubicBezTo>
                  <a:pt x="503478" y="1250604"/>
                  <a:pt x="502355" y="1272653"/>
                  <a:pt x="495707" y="1285950"/>
                </a:cubicBezTo>
                <a:cubicBezTo>
                  <a:pt x="493147" y="1291069"/>
                  <a:pt x="490651" y="1296661"/>
                  <a:pt x="486182" y="1300237"/>
                </a:cubicBezTo>
                <a:cubicBezTo>
                  <a:pt x="482262" y="1303373"/>
                  <a:pt x="476657" y="1303412"/>
                  <a:pt x="471894" y="1305000"/>
                </a:cubicBezTo>
                <a:cubicBezTo>
                  <a:pt x="460782" y="1338337"/>
                  <a:pt x="471894" y="1330400"/>
                  <a:pt x="448082" y="1338337"/>
                </a:cubicBezTo>
                <a:cubicBezTo>
                  <a:pt x="443319" y="1341512"/>
                  <a:pt x="439494" y="1347344"/>
                  <a:pt x="433794" y="1347862"/>
                </a:cubicBezTo>
                <a:cubicBezTo>
                  <a:pt x="412635" y="1349786"/>
                  <a:pt x="399238" y="1344281"/>
                  <a:pt x="381407" y="1338337"/>
                </a:cubicBezTo>
                <a:cubicBezTo>
                  <a:pt x="363810" y="1311942"/>
                  <a:pt x="365259" y="1305117"/>
                  <a:pt x="309969" y="1328812"/>
                </a:cubicBezTo>
                <a:cubicBezTo>
                  <a:pt x="300740" y="1332767"/>
                  <a:pt x="338544" y="1338337"/>
                  <a:pt x="338544" y="1338337"/>
                </a:cubicBezTo>
                <a:cubicBezTo>
                  <a:pt x="352541" y="1380324"/>
                  <a:pt x="330666" y="1324451"/>
                  <a:pt x="357594" y="1362150"/>
                </a:cubicBezTo>
                <a:cubicBezTo>
                  <a:pt x="361153" y="1367132"/>
                  <a:pt x="369014" y="1391647"/>
                  <a:pt x="371882" y="1400250"/>
                </a:cubicBezTo>
                <a:cubicBezTo>
                  <a:pt x="368707" y="1406600"/>
                  <a:pt x="365154" y="1412775"/>
                  <a:pt x="362357" y="1419300"/>
                </a:cubicBezTo>
                <a:cubicBezTo>
                  <a:pt x="360379" y="1423914"/>
                  <a:pt x="361144" y="1430037"/>
                  <a:pt x="357594" y="1433587"/>
                </a:cubicBezTo>
                <a:cubicBezTo>
                  <a:pt x="354044" y="1437137"/>
                  <a:pt x="348069" y="1436762"/>
                  <a:pt x="343307" y="1438350"/>
                </a:cubicBezTo>
                <a:cubicBezTo>
                  <a:pt x="329019" y="1436762"/>
                  <a:pt x="314390" y="1437074"/>
                  <a:pt x="300444" y="1433587"/>
                </a:cubicBezTo>
                <a:cubicBezTo>
                  <a:pt x="286031" y="1429984"/>
                  <a:pt x="284414" y="1421856"/>
                  <a:pt x="281394" y="1409775"/>
                </a:cubicBezTo>
                <a:cubicBezTo>
                  <a:pt x="279431" y="1401922"/>
                  <a:pt x="278388" y="1393864"/>
                  <a:pt x="276632" y="1385962"/>
                </a:cubicBezTo>
                <a:cubicBezTo>
                  <a:pt x="269193" y="1352486"/>
                  <a:pt x="275057" y="1380450"/>
                  <a:pt x="267107" y="1352625"/>
                </a:cubicBezTo>
                <a:cubicBezTo>
                  <a:pt x="265309" y="1346331"/>
                  <a:pt x="263932" y="1339925"/>
                  <a:pt x="262344" y="1333575"/>
                </a:cubicBezTo>
                <a:cubicBezTo>
                  <a:pt x="263932" y="1325637"/>
                  <a:pt x="262617" y="1316497"/>
                  <a:pt x="267107" y="1309762"/>
                </a:cubicBezTo>
                <a:cubicBezTo>
                  <a:pt x="269892" y="1305585"/>
                  <a:pt x="277217" y="1307785"/>
                  <a:pt x="281394" y="1305000"/>
                </a:cubicBezTo>
                <a:cubicBezTo>
                  <a:pt x="292395" y="1297666"/>
                  <a:pt x="298179" y="1286967"/>
                  <a:pt x="305207" y="1276425"/>
                </a:cubicBezTo>
                <a:cubicBezTo>
                  <a:pt x="307018" y="1267370"/>
                  <a:pt x="314969" y="1248087"/>
                  <a:pt x="305207" y="1238325"/>
                </a:cubicBezTo>
                <a:cubicBezTo>
                  <a:pt x="300187" y="1233305"/>
                  <a:pt x="292507" y="1231975"/>
                  <a:pt x="286157" y="1228800"/>
                </a:cubicBezTo>
                <a:cubicBezTo>
                  <a:pt x="282982" y="1222450"/>
                  <a:pt x="279269" y="1216342"/>
                  <a:pt x="276632" y="1209750"/>
                </a:cubicBezTo>
                <a:cubicBezTo>
                  <a:pt x="274241" y="1203772"/>
                  <a:pt x="267577" y="1173550"/>
                  <a:pt x="257582" y="1166887"/>
                </a:cubicBezTo>
                <a:cubicBezTo>
                  <a:pt x="252136" y="1163256"/>
                  <a:pt x="245058" y="1162627"/>
                  <a:pt x="238532" y="1162125"/>
                </a:cubicBezTo>
                <a:cubicBezTo>
                  <a:pt x="203674" y="1159444"/>
                  <a:pt x="168682" y="1158950"/>
                  <a:pt x="133757" y="1157362"/>
                </a:cubicBezTo>
                <a:cubicBezTo>
                  <a:pt x="123109" y="1160024"/>
                  <a:pt x="93088" y="1167013"/>
                  <a:pt x="86132" y="1171650"/>
                </a:cubicBezTo>
                <a:cubicBezTo>
                  <a:pt x="67667" y="1183959"/>
                  <a:pt x="77274" y="1179365"/>
                  <a:pt x="57557" y="1185937"/>
                </a:cubicBezTo>
                <a:cubicBezTo>
                  <a:pt x="47884" y="1183519"/>
                  <a:pt x="33788" y="1180513"/>
                  <a:pt x="24219" y="1176412"/>
                </a:cubicBezTo>
                <a:cubicBezTo>
                  <a:pt x="17694" y="1173615"/>
                  <a:pt x="11519" y="1170062"/>
                  <a:pt x="5169" y="1166887"/>
                </a:cubicBezTo>
                <a:cubicBezTo>
                  <a:pt x="3582" y="1162125"/>
                  <a:pt x="-1457" y="1157261"/>
                  <a:pt x="407" y="1152600"/>
                </a:cubicBezTo>
                <a:cubicBezTo>
                  <a:pt x="2533" y="1147286"/>
                  <a:pt x="10647" y="1147122"/>
                  <a:pt x="14694" y="1143075"/>
                </a:cubicBezTo>
                <a:cubicBezTo>
                  <a:pt x="18741" y="1139027"/>
                  <a:pt x="20555" y="1133184"/>
                  <a:pt x="24219" y="1128787"/>
                </a:cubicBezTo>
                <a:cubicBezTo>
                  <a:pt x="28531" y="1123613"/>
                  <a:pt x="33744" y="1119262"/>
                  <a:pt x="38507" y="1114500"/>
                </a:cubicBezTo>
                <a:cubicBezTo>
                  <a:pt x="50476" y="1078589"/>
                  <a:pt x="32938" y="1121460"/>
                  <a:pt x="57557" y="1090687"/>
                </a:cubicBezTo>
                <a:cubicBezTo>
                  <a:pt x="60693" y="1086767"/>
                  <a:pt x="59881" y="1080788"/>
                  <a:pt x="62319" y="1076400"/>
                </a:cubicBezTo>
                <a:cubicBezTo>
                  <a:pt x="67878" y="1066393"/>
                  <a:pt x="75019" y="1057350"/>
                  <a:pt x="81369" y="1047825"/>
                </a:cubicBezTo>
                <a:cubicBezTo>
                  <a:pt x="84154" y="1043648"/>
                  <a:pt x="82582" y="1037087"/>
                  <a:pt x="86132" y="1033537"/>
                </a:cubicBezTo>
                <a:cubicBezTo>
                  <a:pt x="89682" y="1029987"/>
                  <a:pt x="95657" y="1030362"/>
                  <a:pt x="100419" y="1028775"/>
                </a:cubicBezTo>
                <a:cubicBezTo>
                  <a:pt x="105182" y="1025600"/>
                  <a:pt x="109587" y="1021810"/>
                  <a:pt x="114707" y="1019250"/>
                </a:cubicBezTo>
                <a:cubicBezTo>
                  <a:pt x="119197" y="1017005"/>
                  <a:pt x="124817" y="1017272"/>
                  <a:pt x="128994" y="1014487"/>
                </a:cubicBezTo>
                <a:cubicBezTo>
                  <a:pt x="134598" y="1010751"/>
                  <a:pt x="137394" y="1003471"/>
                  <a:pt x="143282" y="1000200"/>
                </a:cubicBezTo>
                <a:cubicBezTo>
                  <a:pt x="152059" y="995324"/>
                  <a:pt x="162332" y="993850"/>
                  <a:pt x="171857" y="990675"/>
                </a:cubicBezTo>
                <a:lnTo>
                  <a:pt x="186144" y="985912"/>
                </a:lnTo>
                <a:cubicBezTo>
                  <a:pt x="197739" y="951127"/>
                  <a:pt x="193234" y="967077"/>
                  <a:pt x="200432" y="938287"/>
                </a:cubicBezTo>
                <a:cubicBezTo>
                  <a:pt x="202019" y="943050"/>
                  <a:pt x="201644" y="956125"/>
                  <a:pt x="205194" y="952575"/>
                </a:cubicBezTo>
                <a:cubicBezTo>
                  <a:pt x="221231" y="936538"/>
                  <a:pt x="209563" y="917545"/>
                  <a:pt x="219482" y="900187"/>
                </a:cubicBezTo>
                <a:cubicBezTo>
                  <a:pt x="223827" y="892583"/>
                  <a:pt x="240723" y="888344"/>
                  <a:pt x="248057" y="885900"/>
                </a:cubicBezTo>
                <a:cubicBezTo>
                  <a:pt x="260757" y="887487"/>
                  <a:pt x="273565" y="888372"/>
                  <a:pt x="286157" y="890662"/>
                </a:cubicBezTo>
                <a:cubicBezTo>
                  <a:pt x="291096" y="891560"/>
                  <a:pt x="295468" y="894762"/>
                  <a:pt x="300444" y="895425"/>
                </a:cubicBezTo>
                <a:cubicBezTo>
                  <a:pt x="320660" y="898121"/>
                  <a:pt x="414323" y="903969"/>
                  <a:pt x="429032" y="904950"/>
                </a:cubicBezTo>
                <a:cubicBezTo>
                  <a:pt x="433794" y="906537"/>
                  <a:pt x="438299" y="909712"/>
                  <a:pt x="443319" y="909712"/>
                </a:cubicBezTo>
                <a:cubicBezTo>
                  <a:pt x="449302" y="909712"/>
                  <a:pt x="469917" y="902434"/>
                  <a:pt x="476657" y="900187"/>
                </a:cubicBezTo>
                <a:cubicBezTo>
                  <a:pt x="484683" y="876110"/>
                  <a:pt x="493638" y="874306"/>
                  <a:pt x="476657" y="857325"/>
                </a:cubicBezTo>
                <a:cubicBezTo>
                  <a:pt x="471044" y="851712"/>
                  <a:pt x="463957" y="847800"/>
                  <a:pt x="457607" y="843037"/>
                </a:cubicBezTo>
                <a:cubicBezTo>
                  <a:pt x="456019" y="838275"/>
                  <a:pt x="450599" y="833240"/>
                  <a:pt x="452844" y="828750"/>
                </a:cubicBezTo>
                <a:cubicBezTo>
                  <a:pt x="456966" y="820506"/>
                  <a:pt x="483226" y="808796"/>
                  <a:pt x="490944" y="804937"/>
                </a:cubicBezTo>
                <a:cubicBezTo>
                  <a:pt x="494119" y="798587"/>
                  <a:pt x="495449" y="790907"/>
                  <a:pt x="500469" y="785887"/>
                </a:cubicBezTo>
                <a:cubicBezTo>
                  <a:pt x="504019" y="782337"/>
                  <a:pt x="509856" y="782214"/>
                  <a:pt x="514757" y="781125"/>
                </a:cubicBezTo>
                <a:cubicBezTo>
                  <a:pt x="524183" y="779030"/>
                  <a:pt x="533807" y="777950"/>
                  <a:pt x="543332" y="776362"/>
                </a:cubicBezTo>
                <a:cubicBezTo>
                  <a:pt x="536982" y="771600"/>
                  <a:pt x="530741" y="766688"/>
                  <a:pt x="524282" y="762075"/>
                </a:cubicBezTo>
                <a:cubicBezTo>
                  <a:pt x="519624" y="758748"/>
                  <a:pt x="514041" y="756597"/>
                  <a:pt x="509994" y="752550"/>
                </a:cubicBezTo>
                <a:cubicBezTo>
                  <a:pt x="478241" y="720797"/>
                  <a:pt x="524284" y="754139"/>
                  <a:pt x="486182" y="728737"/>
                </a:cubicBezTo>
                <a:cubicBezTo>
                  <a:pt x="484594" y="723975"/>
                  <a:pt x="480709" y="719420"/>
                  <a:pt x="481419" y="714450"/>
                </a:cubicBezTo>
                <a:cubicBezTo>
                  <a:pt x="481872" y="711275"/>
                  <a:pt x="496384" y="684380"/>
                  <a:pt x="500469" y="681112"/>
                </a:cubicBezTo>
                <a:cubicBezTo>
                  <a:pt x="504389" y="677976"/>
                  <a:pt x="509994" y="677937"/>
                  <a:pt x="514757" y="676350"/>
                </a:cubicBezTo>
                <a:cubicBezTo>
                  <a:pt x="519519" y="673175"/>
                  <a:pt x="527234" y="672255"/>
                  <a:pt x="529044" y="666825"/>
                </a:cubicBezTo>
                <a:cubicBezTo>
                  <a:pt x="534089" y="651690"/>
                  <a:pt x="531381" y="634969"/>
                  <a:pt x="533807" y="619200"/>
                </a:cubicBezTo>
                <a:cubicBezTo>
                  <a:pt x="534570" y="614238"/>
                  <a:pt x="536982" y="609675"/>
                  <a:pt x="538569" y="604912"/>
                </a:cubicBezTo>
                <a:cubicBezTo>
                  <a:pt x="533807" y="601737"/>
                  <a:pt x="529401" y="597947"/>
                  <a:pt x="524282" y="595387"/>
                </a:cubicBezTo>
                <a:cubicBezTo>
                  <a:pt x="504901" y="585697"/>
                  <a:pt x="497003" y="592249"/>
                  <a:pt x="471894" y="595387"/>
                </a:cubicBezTo>
                <a:cubicBezTo>
                  <a:pt x="467132" y="596975"/>
                  <a:pt x="462627" y="600150"/>
                  <a:pt x="457607" y="600150"/>
                </a:cubicBezTo>
                <a:cubicBezTo>
                  <a:pt x="442366" y="600150"/>
                  <a:pt x="437922" y="593799"/>
                  <a:pt x="448082" y="581100"/>
                </a:cubicBezTo>
                <a:cubicBezTo>
                  <a:pt x="451658" y="576631"/>
                  <a:pt x="457607" y="574750"/>
                  <a:pt x="462369" y="571575"/>
                </a:cubicBezTo>
                <a:cubicBezTo>
                  <a:pt x="461681" y="568135"/>
                  <a:pt x="457030" y="539754"/>
                  <a:pt x="452844" y="533475"/>
                </a:cubicBezTo>
                <a:cubicBezTo>
                  <a:pt x="449108" y="527871"/>
                  <a:pt x="444405" y="522529"/>
                  <a:pt x="438557" y="519187"/>
                </a:cubicBezTo>
                <a:cubicBezTo>
                  <a:pt x="432874" y="515940"/>
                  <a:pt x="425801" y="516223"/>
                  <a:pt x="419507" y="514425"/>
                </a:cubicBezTo>
                <a:cubicBezTo>
                  <a:pt x="414680" y="513046"/>
                  <a:pt x="409982" y="511250"/>
                  <a:pt x="405219" y="509662"/>
                </a:cubicBezTo>
                <a:cubicBezTo>
                  <a:pt x="409897" y="490953"/>
                  <a:pt x="411778" y="481358"/>
                  <a:pt x="419507" y="462037"/>
                </a:cubicBezTo>
                <a:cubicBezTo>
                  <a:pt x="422682" y="454100"/>
                  <a:pt x="426329" y="446335"/>
                  <a:pt x="429032" y="438225"/>
                </a:cubicBezTo>
                <a:cubicBezTo>
                  <a:pt x="434818" y="420867"/>
                  <a:pt x="429793" y="415338"/>
                  <a:pt x="448082" y="404887"/>
                </a:cubicBezTo>
                <a:cubicBezTo>
                  <a:pt x="453765" y="401640"/>
                  <a:pt x="460782" y="401712"/>
                  <a:pt x="467132" y="400125"/>
                </a:cubicBezTo>
                <a:cubicBezTo>
                  <a:pt x="470307" y="395362"/>
                  <a:pt x="474402" y="391098"/>
                  <a:pt x="476657" y="385837"/>
                </a:cubicBezTo>
                <a:cubicBezTo>
                  <a:pt x="479235" y="379821"/>
                  <a:pt x="481630" y="373329"/>
                  <a:pt x="481419" y="366787"/>
                </a:cubicBezTo>
                <a:cubicBezTo>
                  <a:pt x="480033" y="323830"/>
                  <a:pt x="479449" y="280510"/>
                  <a:pt x="471894" y="238200"/>
                </a:cubicBezTo>
                <a:cubicBezTo>
                  <a:pt x="471012" y="233258"/>
                  <a:pt x="462369" y="235025"/>
                  <a:pt x="457607" y="233437"/>
                </a:cubicBezTo>
                <a:cubicBezTo>
                  <a:pt x="454432" y="228675"/>
                  <a:pt x="451746" y="223547"/>
                  <a:pt x="448082" y="219150"/>
                </a:cubicBezTo>
                <a:cubicBezTo>
                  <a:pt x="443770" y="213976"/>
                  <a:pt x="437530" y="210466"/>
                  <a:pt x="433794" y="204862"/>
                </a:cubicBezTo>
                <a:cubicBezTo>
                  <a:pt x="431009" y="200685"/>
                  <a:pt x="430619" y="195337"/>
                  <a:pt x="429032" y="190575"/>
                </a:cubicBezTo>
                <a:cubicBezTo>
                  <a:pt x="431753" y="176968"/>
                  <a:pt x="434519" y="161173"/>
                  <a:pt x="438557" y="147712"/>
                </a:cubicBezTo>
                <a:cubicBezTo>
                  <a:pt x="442885" y="133287"/>
                  <a:pt x="448082" y="119137"/>
                  <a:pt x="452844" y="104850"/>
                </a:cubicBezTo>
                <a:cubicBezTo>
                  <a:pt x="455151" y="97927"/>
                  <a:pt x="475872" y="92411"/>
                  <a:pt x="481419" y="90562"/>
                </a:cubicBezTo>
                <a:cubicBezTo>
                  <a:pt x="486182" y="92150"/>
                  <a:pt x="491217" y="93080"/>
                  <a:pt x="495707" y="95325"/>
                </a:cubicBezTo>
                <a:cubicBezTo>
                  <a:pt x="500826" y="97885"/>
                  <a:pt x="504348" y="103909"/>
                  <a:pt x="509994" y="104850"/>
                </a:cubicBezTo>
                <a:cubicBezTo>
                  <a:pt x="514946" y="105675"/>
                  <a:pt x="519519" y="101675"/>
                  <a:pt x="524282" y="100087"/>
                </a:cubicBezTo>
                <a:cubicBezTo>
                  <a:pt x="527886" y="89276"/>
                  <a:pt x="528252" y="78429"/>
                  <a:pt x="543332" y="76275"/>
                </a:cubicBezTo>
                <a:cubicBezTo>
                  <a:pt x="549812" y="75349"/>
                  <a:pt x="556032" y="79450"/>
                  <a:pt x="562382" y="81037"/>
                </a:cubicBezTo>
                <a:cubicBezTo>
                  <a:pt x="567144" y="84212"/>
                  <a:pt x="570945" y="90562"/>
                  <a:pt x="576669" y="90562"/>
                </a:cubicBezTo>
                <a:cubicBezTo>
                  <a:pt x="586709" y="90562"/>
                  <a:pt x="605244" y="81037"/>
                  <a:pt x="605244" y="81037"/>
                </a:cubicBezTo>
                <a:cubicBezTo>
                  <a:pt x="610007" y="76275"/>
                  <a:pt x="615220" y="71924"/>
                  <a:pt x="619532" y="66750"/>
                </a:cubicBezTo>
                <a:cubicBezTo>
                  <a:pt x="623196" y="62353"/>
                  <a:pt x="624587" y="56038"/>
                  <a:pt x="629057" y="52462"/>
                </a:cubicBezTo>
                <a:cubicBezTo>
                  <a:pt x="632977" y="49326"/>
                  <a:pt x="638582" y="49287"/>
                  <a:pt x="643344" y="47700"/>
                </a:cubicBezTo>
                <a:cubicBezTo>
                  <a:pt x="648107" y="44525"/>
                  <a:pt x="653585" y="42222"/>
                  <a:pt x="657632" y="38175"/>
                </a:cubicBezTo>
                <a:cubicBezTo>
                  <a:pt x="661679" y="34128"/>
                  <a:pt x="662687" y="27463"/>
                  <a:pt x="667157" y="23887"/>
                </a:cubicBezTo>
                <a:cubicBezTo>
                  <a:pt x="671077" y="20751"/>
                  <a:pt x="676682" y="20712"/>
                  <a:pt x="681444" y="19125"/>
                </a:cubicBezTo>
                <a:cubicBezTo>
                  <a:pt x="684619" y="14362"/>
                  <a:pt x="686499" y="8413"/>
                  <a:pt x="690969" y="4837"/>
                </a:cubicBezTo>
                <a:cubicBezTo>
                  <a:pt x="703562" y="-5238"/>
                  <a:pt x="727888" y="3308"/>
                  <a:pt x="738594" y="4837"/>
                </a:cubicBezTo>
                <a:cubicBezTo>
                  <a:pt x="740182" y="22300"/>
                  <a:pt x="727276" y="50233"/>
                  <a:pt x="743357" y="57225"/>
                </a:cubicBezTo>
                <a:cubicBezTo>
                  <a:pt x="776603" y="71680"/>
                  <a:pt x="828830" y="57287"/>
                  <a:pt x="867182" y="47700"/>
                </a:cubicBezTo>
                <a:cubicBezTo>
                  <a:pt x="889823" y="32605"/>
                  <a:pt x="876038" y="39986"/>
                  <a:pt x="910044" y="28650"/>
                </a:cubicBezTo>
                <a:lnTo>
                  <a:pt x="924332" y="23887"/>
                </a:lnTo>
                <a:cubicBezTo>
                  <a:pt x="949842" y="26438"/>
                  <a:pt x="965352" y="24458"/>
                  <a:pt x="986244" y="33412"/>
                </a:cubicBezTo>
                <a:cubicBezTo>
                  <a:pt x="992770" y="36209"/>
                  <a:pt x="998702" y="40300"/>
                  <a:pt x="1005294" y="42937"/>
                </a:cubicBezTo>
                <a:cubicBezTo>
                  <a:pt x="1014616" y="46666"/>
                  <a:pt x="1024344" y="49287"/>
                  <a:pt x="1033869" y="52462"/>
                </a:cubicBezTo>
                <a:lnTo>
                  <a:pt x="1048157" y="57225"/>
                </a:lnTo>
                <a:lnTo>
                  <a:pt x="1062444" y="61987"/>
                </a:lnTo>
                <a:cubicBezTo>
                  <a:pt x="1067207" y="65162"/>
                  <a:pt x="1071501" y="69187"/>
                  <a:pt x="1076732" y="71512"/>
                </a:cubicBezTo>
                <a:cubicBezTo>
                  <a:pt x="1085907" y="75590"/>
                  <a:pt x="1105307" y="81037"/>
                  <a:pt x="1105307" y="81037"/>
                </a:cubicBezTo>
                <a:cubicBezTo>
                  <a:pt x="1108770" y="80460"/>
                  <a:pt x="1140350" y="76724"/>
                  <a:pt x="1148169" y="71512"/>
                </a:cubicBezTo>
                <a:cubicBezTo>
                  <a:pt x="1183843" y="47729"/>
                  <a:pt x="1142773" y="63787"/>
                  <a:pt x="1176744" y="52462"/>
                </a:cubicBezTo>
                <a:lnTo>
                  <a:pt x="1195794" y="23887"/>
                </a:lnTo>
                <a:cubicBezTo>
                  <a:pt x="1202144" y="14362"/>
                  <a:pt x="1224369" y="4837"/>
                  <a:pt x="1224369" y="4837"/>
                </a:cubicBezTo>
                <a:cubicBezTo>
                  <a:pt x="1232307" y="6425"/>
                  <a:pt x="1242458" y="3876"/>
                  <a:pt x="1248182" y="9600"/>
                </a:cubicBezTo>
                <a:cubicBezTo>
                  <a:pt x="1255282" y="16700"/>
                  <a:pt x="1254532" y="28650"/>
                  <a:pt x="1257707" y="38175"/>
                </a:cubicBezTo>
                <a:cubicBezTo>
                  <a:pt x="1259517" y="43605"/>
                  <a:pt x="1264057" y="47700"/>
                  <a:pt x="1267232" y="52462"/>
                </a:cubicBezTo>
                <a:cubicBezTo>
                  <a:pt x="1272115" y="67112"/>
                  <a:pt x="1276910" y="73625"/>
                  <a:pt x="1267232" y="90562"/>
                </a:cubicBezTo>
                <a:cubicBezTo>
                  <a:pt x="1264392" y="95532"/>
                  <a:pt x="1248897" y="96039"/>
                  <a:pt x="1252944" y="100087"/>
                </a:cubicBezTo>
                <a:cubicBezTo>
                  <a:pt x="1257572" y="104716"/>
                  <a:pt x="1265644" y="96912"/>
                  <a:pt x="1271994" y="95325"/>
                </a:cubicBezTo>
                <a:lnTo>
                  <a:pt x="1329144" y="57225"/>
                </a:lnTo>
                <a:cubicBezTo>
                  <a:pt x="1333907" y="54050"/>
                  <a:pt x="1337708" y="47700"/>
                  <a:pt x="1343432" y="47700"/>
                </a:cubicBezTo>
                <a:lnTo>
                  <a:pt x="1424394" y="28650"/>
                </a:lnTo>
                <a:close/>
              </a:path>
            </a:pathLst>
          </a:custGeom>
          <a:solidFill>
            <a:srgbClr val="92D050">
              <a:alpha val="48000"/>
            </a:srgbClr>
          </a:solidFill>
          <a:ln w="762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4291" tIns="32146" rIns="64291" bIns="32146" numCol="1" rtlCol="0" anchor="t" anchorCtr="0" compatLnSpc="1">
            <a:prstTxWarp prst="textNoShape">
              <a:avLst/>
            </a:prstTxWarp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endParaRPr lang="hu-HU" sz="800" dirty="0" err="1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21" name="Szabadkézi sokszög 20"/>
          <p:cNvSpPr/>
          <p:nvPr/>
        </p:nvSpPr>
        <p:spPr bwMode="gray">
          <a:xfrm>
            <a:off x="371475" y="3790586"/>
            <a:ext cx="1348070" cy="1524364"/>
          </a:xfrm>
          <a:custGeom>
            <a:avLst/>
            <a:gdLst>
              <a:gd name="connsiteX0" fmla="*/ 942975 w 1348070"/>
              <a:gd name="connsiteY0" fmla="*/ 364 h 1524364"/>
              <a:gd name="connsiteX1" fmla="*/ 966788 w 1348070"/>
              <a:gd name="connsiteY1" fmla="*/ 14652 h 1524364"/>
              <a:gd name="connsiteX2" fmla="*/ 990600 w 1348070"/>
              <a:gd name="connsiteY2" fmla="*/ 52752 h 1524364"/>
              <a:gd name="connsiteX3" fmla="*/ 1009650 w 1348070"/>
              <a:gd name="connsiteY3" fmla="*/ 81327 h 1524364"/>
              <a:gd name="connsiteX4" fmla="*/ 1047750 w 1348070"/>
              <a:gd name="connsiteY4" fmla="*/ 90852 h 1524364"/>
              <a:gd name="connsiteX5" fmla="*/ 1062038 w 1348070"/>
              <a:gd name="connsiteY5" fmla="*/ 95614 h 1524364"/>
              <a:gd name="connsiteX6" fmla="*/ 1076325 w 1348070"/>
              <a:gd name="connsiteY6" fmla="*/ 105139 h 1524364"/>
              <a:gd name="connsiteX7" fmla="*/ 1152525 w 1348070"/>
              <a:gd name="connsiteY7" fmla="*/ 119427 h 1524364"/>
              <a:gd name="connsiteX8" fmla="*/ 1162050 w 1348070"/>
              <a:gd name="connsiteY8" fmla="*/ 133714 h 1524364"/>
              <a:gd name="connsiteX9" fmla="*/ 1166813 w 1348070"/>
              <a:gd name="connsiteY9" fmla="*/ 167052 h 1524364"/>
              <a:gd name="connsiteX10" fmla="*/ 1171575 w 1348070"/>
              <a:gd name="connsiteY10" fmla="*/ 181339 h 1524364"/>
              <a:gd name="connsiteX11" fmla="*/ 1166813 w 1348070"/>
              <a:gd name="connsiteY11" fmla="*/ 214677 h 1524364"/>
              <a:gd name="connsiteX12" fmla="*/ 1162050 w 1348070"/>
              <a:gd name="connsiteY12" fmla="*/ 228964 h 1524364"/>
              <a:gd name="connsiteX13" fmla="*/ 1157288 w 1348070"/>
              <a:gd name="connsiteY13" fmla="*/ 214677 h 1524364"/>
              <a:gd name="connsiteX14" fmla="*/ 1152525 w 1348070"/>
              <a:gd name="connsiteY14" fmla="*/ 228964 h 1524364"/>
              <a:gd name="connsiteX15" fmla="*/ 1166813 w 1348070"/>
              <a:gd name="connsiteY15" fmla="*/ 262302 h 1524364"/>
              <a:gd name="connsiteX16" fmla="*/ 1190625 w 1348070"/>
              <a:gd name="connsiteY16" fmla="*/ 267064 h 1524364"/>
              <a:gd name="connsiteX17" fmla="*/ 1247775 w 1348070"/>
              <a:gd name="connsiteY17" fmla="*/ 271827 h 1524364"/>
              <a:gd name="connsiteX18" fmla="*/ 1266825 w 1348070"/>
              <a:gd name="connsiteY18" fmla="*/ 305164 h 1524364"/>
              <a:gd name="connsiteX19" fmla="*/ 1276350 w 1348070"/>
              <a:gd name="connsiteY19" fmla="*/ 319452 h 1524364"/>
              <a:gd name="connsiteX20" fmla="*/ 1295400 w 1348070"/>
              <a:gd name="connsiteY20" fmla="*/ 362314 h 1524364"/>
              <a:gd name="connsiteX21" fmla="*/ 1295400 w 1348070"/>
              <a:gd name="connsiteY21" fmla="*/ 448039 h 1524364"/>
              <a:gd name="connsiteX22" fmla="*/ 1314450 w 1348070"/>
              <a:gd name="connsiteY22" fmla="*/ 490902 h 1524364"/>
              <a:gd name="connsiteX23" fmla="*/ 1328738 w 1348070"/>
              <a:gd name="connsiteY23" fmla="*/ 495664 h 1524364"/>
              <a:gd name="connsiteX24" fmla="*/ 1343025 w 1348070"/>
              <a:gd name="connsiteY24" fmla="*/ 552814 h 1524364"/>
              <a:gd name="connsiteX25" fmla="*/ 1338263 w 1348070"/>
              <a:gd name="connsiteY25" fmla="*/ 567102 h 1524364"/>
              <a:gd name="connsiteX26" fmla="*/ 1319213 w 1348070"/>
              <a:gd name="connsiteY26" fmla="*/ 571864 h 1524364"/>
              <a:gd name="connsiteX27" fmla="*/ 1290638 w 1348070"/>
              <a:gd name="connsiteY27" fmla="*/ 586152 h 1524364"/>
              <a:gd name="connsiteX28" fmla="*/ 1276350 w 1348070"/>
              <a:gd name="connsiteY28" fmla="*/ 595677 h 1524364"/>
              <a:gd name="connsiteX29" fmla="*/ 1252538 w 1348070"/>
              <a:gd name="connsiteY29" fmla="*/ 600439 h 1524364"/>
              <a:gd name="connsiteX30" fmla="*/ 1214438 w 1348070"/>
              <a:gd name="connsiteY30" fmla="*/ 595677 h 1524364"/>
              <a:gd name="connsiteX31" fmla="*/ 1185863 w 1348070"/>
              <a:gd name="connsiteY31" fmla="*/ 586152 h 1524364"/>
              <a:gd name="connsiteX32" fmla="*/ 1171575 w 1348070"/>
              <a:gd name="connsiteY32" fmla="*/ 590914 h 1524364"/>
              <a:gd name="connsiteX33" fmla="*/ 1171575 w 1348070"/>
              <a:gd name="connsiteY33" fmla="*/ 633777 h 1524364"/>
              <a:gd name="connsiteX34" fmla="*/ 1195388 w 1348070"/>
              <a:gd name="connsiteY34" fmla="*/ 667114 h 1524364"/>
              <a:gd name="connsiteX35" fmla="*/ 1190625 w 1348070"/>
              <a:gd name="connsiteY35" fmla="*/ 714739 h 1524364"/>
              <a:gd name="connsiteX36" fmla="*/ 1181100 w 1348070"/>
              <a:gd name="connsiteY36" fmla="*/ 743314 h 1524364"/>
              <a:gd name="connsiteX37" fmla="*/ 1152525 w 1348070"/>
              <a:gd name="connsiteY37" fmla="*/ 757602 h 1524364"/>
              <a:gd name="connsiteX38" fmla="*/ 1143000 w 1348070"/>
              <a:gd name="connsiteY38" fmla="*/ 771889 h 1524364"/>
              <a:gd name="connsiteX39" fmla="*/ 1138238 w 1348070"/>
              <a:gd name="connsiteY39" fmla="*/ 843327 h 1524364"/>
              <a:gd name="connsiteX40" fmla="*/ 1133475 w 1348070"/>
              <a:gd name="connsiteY40" fmla="*/ 1000489 h 1524364"/>
              <a:gd name="connsiteX41" fmla="*/ 1138238 w 1348070"/>
              <a:gd name="connsiteY41" fmla="*/ 1052877 h 1524364"/>
              <a:gd name="connsiteX42" fmla="*/ 1152525 w 1348070"/>
              <a:gd name="connsiteY42" fmla="*/ 1057639 h 1524364"/>
              <a:gd name="connsiteX43" fmla="*/ 1162050 w 1348070"/>
              <a:gd name="connsiteY43" fmla="*/ 1071927 h 1524364"/>
              <a:gd name="connsiteX44" fmla="*/ 1147763 w 1348070"/>
              <a:gd name="connsiteY44" fmla="*/ 1100502 h 1524364"/>
              <a:gd name="connsiteX45" fmla="*/ 1138238 w 1348070"/>
              <a:gd name="connsiteY45" fmla="*/ 1114789 h 1524364"/>
              <a:gd name="connsiteX46" fmla="*/ 1133475 w 1348070"/>
              <a:gd name="connsiteY46" fmla="*/ 1129077 h 1524364"/>
              <a:gd name="connsiteX47" fmla="*/ 1119188 w 1348070"/>
              <a:gd name="connsiteY47" fmla="*/ 1133839 h 1524364"/>
              <a:gd name="connsiteX48" fmla="*/ 1104900 w 1348070"/>
              <a:gd name="connsiteY48" fmla="*/ 1143364 h 1524364"/>
              <a:gd name="connsiteX49" fmla="*/ 1100138 w 1348070"/>
              <a:gd name="connsiteY49" fmla="*/ 1162414 h 1524364"/>
              <a:gd name="connsiteX50" fmla="*/ 1095375 w 1348070"/>
              <a:gd name="connsiteY50" fmla="*/ 1229089 h 1524364"/>
              <a:gd name="connsiteX51" fmla="*/ 1085850 w 1348070"/>
              <a:gd name="connsiteY51" fmla="*/ 1243377 h 1524364"/>
              <a:gd name="connsiteX52" fmla="*/ 1038225 w 1348070"/>
              <a:gd name="connsiteY52" fmla="*/ 1257664 h 1524364"/>
              <a:gd name="connsiteX53" fmla="*/ 1014413 w 1348070"/>
              <a:gd name="connsiteY53" fmla="*/ 1291002 h 1524364"/>
              <a:gd name="connsiteX54" fmla="*/ 1000125 w 1348070"/>
              <a:gd name="connsiteY54" fmla="*/ 1300527 h 1524364"/>
              <a:gd name="connsiteX55" fmla="*/ 904875 w 1348070"/>
              <a:gd name="connsiteY55" fmla="*/ 1295764 h 1524364"/>
              <a:gd name="connsiteX56" fmla="*/ 890588 w 1348070"/>
              <a:gd name="connsiteY56" fmla="*/ 1300527 h 1524364"/>
              <a:gd name="connsiteX57" fmla="*/ 885825 w 1348070"/>
              <a:gd name="connsiteY57" fmla="*/ 1314814 h 1524364"/>
              <a:gd name="connsiteX58" fmla="*/ 890588 w 1348070"/>
              <a:gd name="connsiteY58" fmla="*/ 1329102 h 1524364"/>
              <a:gd name="connsiteX59" fmla="*/ 900113 w 1348070"/>
              <a:gd name="connsiteY59" fmla="*/ 1343389 h 1524364"/>
              <a:gd name="connsiteX60" fmla="*/ 904875 w 1348070"/>
              <a:gd name="connsiteY60" fmla="*/ 1381489 h 1524364"/>
              <a:gd name="connsiteX61" fmla="*/ 914400 w 1348070"/>
              <a:gd name="connsiteY61" fmla="*/ 1395777 h 1524364"/>
              <a:gd name="connsiteX62" fmla="*/ 919163 w 1348070"/>
              <a:gd name="connsiteY62" fmla="*/ 1410064 h 1524364"/>
              <a:gd name="connsiteX63" fmla="*/ 909638 w 1348070"/>
              <a:gd name="connsiteY63" fmla="*/ 1443402 h 1524364"/>
              <a:gd name="connsiteX64" fmla="*/ 895350 w 1348070"/>
              <a:gd name="connsiteY64" fmla="*/ 1471977 h 1524364"/>
              <a:gd name="connsiteX65" fmla="*/ 890588 w 1348070"/>
              <a:gd name="connsiteY65" fmla="*/ 1500552 h 1524364"/>
              <a:gd name="connsiteX66" fmla="*/ 814388 w 1348070"/>
              <a:gd name="connsiteY66" fmla="*/ 1491027 h 1524364"/>
              <a:gd name="connsiteX67" fmla="*/ 804863 w 1348070"/>
              <a:gd name="connsiteY67" fmla="*/ 1505314 h 1524364"/>
              <a:gd name="connsiteX68" fmla="*/ 776288 w 1348070"/>
              <a:gd name="connsiteY68" fmla="*/ 1524364 h 1524364"/>
              <a:gd name="connsiteX69" fmla="*/ 747713 w 1348070"/>
              <a:gd name="connsiteY69" fmla="*/ 1500552 h 1524364"/>
              <a:gd name="connsiteX70" fmla="*/ 733425 w 1348070"/>
              <a:gd name="connsiteY70" fmla="*/ 1495789 h 1524364"/>
              <a:gd name="connsiteX71" fmla="*/ 690563 w 1348070"/>
              <a:gd name="connsiteY71" fmla="*/ 1491027 h 1524364"/>
              <a:gd name="connsiteX72" fmla="*/ 676275 w 1348070"/>
              <a:gd name="connsiteY72" fmla="*/ 1476739 h 1524364"/>
              <a:gd name="connsiteX73" fmla="*/ 671513 w 1348070"/>
              <a:gd name="connsiteY73" fmla="*/ 1448164 h 1524364"/>
              <a:gd name="connsiteX74" fmla="*/ 661988 w 1348070"/>
              <a:gd name="connsiteY74" fmla="*/ 1424352 h 1524364"/>
              <a:gd name="connsiteX75" fmla="*/ 657225 w 1348070"/>
              <a:gd name="connsiteY75" fmla="*/ 1410064 h 1524364"/>
              <a:gd name="connsiteX76" fmla="*/ 628650 w 1348070"/>
              <a:gd name="connsiteY76" fmla="*/ 1381489 h 1524364"/>
              <a:gd name="connsiteX77" fmla="*/ 623888 w 1348070"/>
              <a:gd name="connsiteY77" fmla="*/ 1367202 h 1524364"/>
              <a:gd name="connsiteX78" fmla="*/ 604838 w 1348070"/>
              <a:gd name="connsiteY78" fmla="*/ 1362439 h 1524364"/>
              <a:gd name="connsiteX79" fmla="*/ 590550 w 1348070"/>
              <a:gd name="connsiteY79" fmla="*/ 1352914 h 1524364"/>
              <a:gd name="connsiteX80" fmla="*/ 547688 w 1348070"/>
              <a:gd name="connsiteY80" fmla="*/ 1348152 h 1524364"/>
              <a:gd name="connsiteX81" fmla="*/ 528638 w 1348070"/>
              <a:gd name="connsiteY81" fmla="*/ 1343389 h 1524364"/>
              <a:gd name="connsiteX82" fmla="*/ 500063 w 1348070"/>
              <a:gd name="connsiteY82" fmla="*/ 1333864 h 1524364"/>
              <a:gd name="connsiteX83" fmla="*/ 495300 w 1348070"/>
              <a:gd name="connsiteY83" fmla="*/ 1314814 h 1524364"/>
              <a:gd name="connsiteX84" fmla="*/ 481013 w 1348070"/>
              <a:gd name="connsiteY84" fmla="*/ 1300527 h 1524364"/>
              <a:gd name="connsiteX85" fmla="*/ 471488 w 1348070"/>
              <a:gd name="connsiteY85" fmla="*/ 1286239 h 1524364"/>
              <a:gd name="connsiteX86" fmla="*/ 457200 w 1348070"/>
              <a:gd name="connsiteY86" fmla="*/ 1276714 h 1524364"/>
              <a:gd name="connsiteX87" fmla="*/ 428625 w 1348070"/>
              <a:gd name="connsiteY87" fmla="*/ 1257664 h 1524364"/>
              <a:gd name="connsiteX88" fmla="*/ 395288 w 1348070"/>
              <a:gd name="connsiteY88" fmla="*/ 1219564 h 1524364"/>
              <a:gd name="connsiteX89" fmla="*/ 385763 w 1348070"/>
              <a:gd name="connsiteY89" fmla="*/ 1205277 h 1524364"/>
              <a:gd name="connsiteX90" fmla="*/ 352425 w 1348070"/>
              <a:gd name="connsiteY90" fmla="*/ 1190989 h 1524364"/>
              <a:gd name="connsiteX91" fmla="*/ 338138 w 1348070"/>
              <a:gd name="connsiteY91" fmla="*/ 1176702 h 1524364"/>
              <a:gd name="connsiteX92" fmla="*/ 300038 w 1348070"/>
              <a:gd name="connsiteY92" fmla="*/ 1148127 h 1524364"/>
              <a:gd name="connsiteX93" fmla="*/ 271463 w 1348070"/>
              <a:gd name="connsiteY93" fmla="*/ 1129077 h 1524364"/>
              <a:gd name="connsiteX94" fmla="*/ 228600 w 1348070"/>
              <a:gd name="connsiteY94" fmla="*/ 1105264 h 1524364"/>
              <a:gd name="connsiteX95" fmla="*/ 214313 w 1348070"/>
              <a:gd name="connsiteY95" fmla="*/ 1019539 h 1524364"/>
              <a:gd name="connsiteX96" fmla="*/ 209550 w 1348070"/>
              <a:gd name="connsiteY96" fmla="*/ 1000489 h 1524364"/>
              <a:gd name="connsiteX97" fmla="*/ 204788 w 1348070"/>
              <a:gd name="connsiteY97" fmla="*/ 986202 h 1524364"/>
              <a:gd name="connsiteX98" fmla="*/ 185738 w 1348070"/>
              <a:gd name="connsiteY98" fmla="*/ 981439 h 1524364"/>
              <a:gd name="connsiteX99" fmla="*/ 171450 w 1348070"/>
              <a:gd name="connsiteY99" fmla="*/ 971914 h 1524364"/>
              <a:gd name="connsiteX100" fmla="*/ 147638 w 1348070"/>
              <a:gd name="connsiteY100" fmla="*/ 948102 h 1524364"/>
              <a:gd name="connsiteX101" fmla="*/ 138113 w 1348070"/>
              <a:gd name="connsiteY101" fmla="*/ 924289 h 1524364"/>
              <a:gd name="connsiteX102" fmla="*/ 123825 w 1348070"/>
              <a:gd name="connsiteY102" fmla="*/ 890952 h 1524364"/>
              <a:gd name="connsiteX103" fmla="*/ 95250 w 1348070"/>
              <a:gd name="connsiteY103" fmla="*/ 871902 h 1524364"/>
              <a:gd name="connsiteX104" fmla="*/ 66675 w 1348070"/>
              <a:gd name="connsiteY104" fmla="*/ 848089 h 1524364"/>
              <a:gd name="connsiteX105" fmla="*/ 57150 w 1348070"/>
              <a:gd name="connsiteY105" fmla="*/ 833802 h 1524364"/>
              <a:gd name="connsiteX106" fmla="*/ 42863 w 1348070"/>
              <a:gd name="connsiteY106" fmla="*/ 824277 h 1524364"/>
              <a:gd name="connsiteX107" fmla="*/ 57150 w 1348070"/>
              <a:gd name="connsiteY107" fmla="*/ 776652 h 1524364"/>
              <a:gd name="connsiteX108" fmla="*/ 71438 w 1348070"/>
              <a:gd name="connsiteY108" fmla="*/ 771889 h 1524364"/>
              <a:gd name="connsiteX109" fmla="*/ 76200 w 1348070"/>
              <a:gd name="connsiteY109" fmla="*/ 757602 h 1524364"/>
              <a:gd name="connsiteX110" fmla="*/ 71438 w 1348070"/>
              <a:gd name="connsiteY110" fmla="*/ 729027 h 1524364"/>
              <a:gd name="connsiteX111" fmla="*/ 42863 w 1348070"/>
              <a:gd name="connsiteY111" fmla="*/ 714739 h 1524364"/>
              <a:gd name="connsiteX112" fmla="*/ 4763 w 1348070"/>
              <a:gd name="connsiteY112" fmla="*/ 681402 h 1524364"/>
              <a:gd name="connsiteX113" fmla="*/ 0 w 1348070"/>
              <a:gd name="connsiteY113" fmla="*/ 667114 h 1524364"/>
              <a:gd name="connsiteX114" fmla="*/ 14288 w 1348070"/>
              <a:gd name="connsiteY114" fmla="*/ 657589 h 1524364"/>
              <a:gd name="connsiteX115" fmla="*/ 42863 w 1348070"/>
              <a:gd name="connsiteY115" fmla="*/ 643302 h 1524364"/>
              <a:gd name="connsiteX116" fmla="*/ 38100 w 1348070"/>
              <a:gd name="connsiteY116" fmla="*/ 571864 h 1524364"/>
              <a:gd name="connsiteX117" fmla="*/ 28575 w 1348070"/>
              <a:gd name="connsiteY117" fmla="*/ 557577 h 1524364"/>
              <a:gd name="connsiteX118" fmla="*/ 23813 w 1348070"/>
              <a:gd name="connsiteY118" fmla="*/ 543289 h 1524364"/>
              <a:gd name="connsiteX119" fmla="*/ 38100 w 1348070"/>
              <a:gd name="connsiteY119" fmla="*/ 533764 h 1524364"/>
              <a:gd name="connsiteX120" fmla="*/ 80963 w 1348070"/>
              <a:gd name="connsiteY120" fmla="*/ 543289 h 1524364"/>
              <a:gd name="connsiteX121" fmla="*/ 123825 w 1348070"/>
              <a:gd name="connsiteY121" fmla="*/ 538527 h 1524364"/>
              <a:gd name="connsiteX122" fmla="*/ 138113 w 1348070"/>
              <a:gd name="connsiteY122" fmla="*/ 533764 h 1524364"/>
              <a:gd name="connsiteX123" fmla="*/ 147638 w 1348070"/>
              <a:gd name="connsiteY123" fmla="*/ 519477 h 1524364"/>
              <a:gd name="connsiteX124" fmla="*/ 152400 w 1348070"/>
              <a:gd name="connsiteY124" fmla="*/ 505189 h 1524364"/>
              <a:gd name="connsiteX125" fmla="*/ 161925 w 1348070"/>
              <a:gd name="connsiteY125" fmla="*/ 467089 h 1524364"/>
              <a:gd name="connsiteX126" fmla="*/ 185738 w 1348070"/>
              <a:gd name="connsiteY126" fmla="*/ 438514 h 1524364"/>
              <a:gd name="connsiteX127" fmla="*/ 200025 w 1348070"/>
              <a:gd name="connsiteY127" fmla="*/ 419464 h 1524364"/>
              <a:gd name="connsiteX128" fmla="*/ 209550 w 1348070"/>
              <a:gd name="connsiteY128" fmla="*/ 405177 h 1524364"/>
              <a:gd name="connsiteX129" fmla="*/ 223838 w 1348070"/>
              <a:gd name="connsiteY129" fmla="*/ 395652 h 1524364"/>
              <a:gd name="connsiteX130" fmla="*/ 271463 w 1348070"/>
              <a:gd name="connsiteY130" fmla="*/ 381364 h 1524364"/>
              <a:gd name="connsiteX131" fmla="*/ 300038 w 1348070"/>
              <a:gd name="connsiteY131" fmla="*/ 362314 h 1524364"/>
              <a:gd name="connsiteX132" fmla="*/ 319088 w 1348070"/>
              <a:gd name="connsiteY132" fmla="*/ 333739 h 1524364"/>
              <a:gd name="connsiteX133" fmla="*/ 323850 w 1348070"/>
              <a:gd name="connsiteY133" fmla="*/ 319452 h 1524364"/>
              <a:gd name="connsiteX134" fmla="*/ 352425 w 1348070"/>
              <a:gd name="connsiteY134" fmla="*/ 300402 h 1524364"/>
              <a:gd name="connsiteX135" fmla="*/ 366713 w 1348070"/>
              <a:gd name="connsiteY135" fmla="*/ 286114 h 1524364"/>
              <a:gd name="connsiteX136" fmla="*/ 381000 w 1348070"/>
              <a:gd name="connsiteY136" fmla="*/ 281352 h 1524364"/>
              <a:gd name="connsiteX137" fmla="*/ 395288 w 1348070"/>
              <a:gd name="connsiteY137" fmla="*/ 271827 h 1524364"/>
              <a:gd name="connsiteX138" fmla="*/ 423863 w 1348070"/>
              <a:gd name="connsiteY138" fmla="*/ 262302 h 1524364"/>
              <a:gd name="connsiteX139" fmla="*/ 438150 w 1348070"/>
              <a:gd name="connsiteY139" fmla="*/ 257539 h 1524364"/>
              <a:gd name="connsiteX140" fmla="*/ 452438 w 1348070"/>
              <a:gd name="connsiteY140" fmla="*/ 252777 h 1524364"/>
              <a:gd name="connsiteX141" fmla="*/ 466725 w 1348070"/>
              <a:gd name="connsiteY141" fmla="*/ 248014 h 1524364"/>
              <a:gd name="connsiteX142" fmla="*/ 557213 w 1348070"/>
              <a:gd name="connsiteY142" fmla="*/ 248014 h 1524364"/>
              <a:gd name="connsiteX143" fmla="*/ 585788 w 1348070"/>
              <a:gd name="connsiteY143" fmla="*/ 238489 h 1524364"/>
              <a:gd name="connsiteX144" fmla="*/ 590550 w 1348070"/>
              <a:gd name="connsiteY144" fmla="*/ 205152 h 1524364"/>
              <a:gd name="connsiteX145" fmla="*/ 638175 w 1348070"/>
              <a:gd name="connsiteY145" fmla="*/ 176577 h 1524364"/>
              <a:gd name="connsiteX146" fmla="*/ 652463 w 1348070"/>
              <a:gd name="connsiteY146" fmla="*/ 171814 h 1524364"/>
              <a:gd name="connsiteX147" fmla="*/ 833438 w 1348070"/>
              <a:gd name="connsiteY147" fmla="*/ 167052 h 1524364"/>
              <a:gd name="connsiteX148" fmla="*/ 838200 w 1348070"/>
              <a:gd name="connsiteY148" fmla="*/ 152764 h 1524364"/>
              <a:gd name="connsiteX149" fmla="*/ 842963 w 1348070"/>
              <a:gd name="connsiteY149" fmla="*/ 105139 h 1524364"/>
              <a:gd name="connsiteX150" fmla="*/ 852488 w 1348070"/>
              <a:gd name="connsiteY150" fmla="*/ 76564 h 1524364"/>
              <a:gd name="connsiteX151" fmla="*/ 876300 w 1348070"/>
              <a:gd name="connsiteY151" fmla="*/ 33702 h 1524364"/>
              <a:gd name="connsiteX152" fmla="*/ 890588 w 1348070"/>
              <a:gd name="connsiteY152" fmla="*/ 28939 h 1524364"/>
              <a:gd name="connsiteX153" fmla="*/ 909638 w 1348070"/>
              <a:gd name="connsiteY153" fmla="*/ 33702 h 1524364"/>
              <a:gd name="connsiteX154" fmla="*/ 923925 w 1348070"/>
              <a:gd name="connsiteY154" fmla="*/ 43227 h 1524364"/>
              <a:gd name="connsiteX155" fmla="*/ 938213 w 1348070"/>
              <a:gd name="connsiteY155" fmla="*/ 28939 h 1524364"/>
              <a:gd name="connsiteX156" fmla="*/ 942975 w 1348070"/>
              <a:gd name="connsiteY156" fmla="*/ 364 h 1524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1348070" h="1524364">
                <a:moveTo>
                  <a:pt x="942975" y="364"/>
                </a:moveTo>
                <a:cubicBezTo>
                  <a:pt x="947737" y="-2017"/>
                  <a:pt x="960561" y="7802"/>
                  <a:pt x="966788" y="14652"/>
                </a:cubicBezTo>
                <a:cubicBezTo>
                  <a:pt x="976862" y="25734"/>
                  <a:pt x="982560" y="40117"/>
                  <a:pt x="990600" y="52752"/>
                </a:cubicBezTo>
                <a:cubicBezTo>
                  <a:pt x="996746" y="62410"/>
                  <a:pt x="1003300" y="71802"/>
                  <a:pt x="1009650" y="81327"/>
                </a:cubicBezTo>
                <a:cubicBezTo>
                  <a:pt x="1016911" y="92219"/>
                  <a:pt x="1035331" y="86713"/>
                  <a:pt x="1047750" y="90852"/>
                </a:cubicBezTo>
                <a:lnTo>
                  <a:pt x="1062038" y="95614"/>
                </a:lnTo>
                <a:cubicBezTo>
                  <a:pt x="1066800" y="98789"/>
                  <a:pt x="1071095" y="102814"/>
                  <a:pt x="1076325" y="105139"/>
                </a:cubicBezTo>
                <a:cubicBezTo>
                  <a:pt x="1105934" y="118299"/>
                  <a:pt x="1117317" y="115906"/>
                  <a:pt x="1152525" y="119427"/>
                </a:cubicBezTo>
                <a:cubicBezTo>
                  <a:pt x="1155700" y="124189"/>
                  <a:pt x="1160405" y="128232"/>
                  <a:pt x="1162050" y="133714"/>
                </a:cubicBezTo>
                <a:cubicBezTo>
                  <a:pt x="1165276" y="144466"/>
                  <a:pt x="1164611" y="156044"/>
                  <a:pt x="1166813" y="167052"/>
                </a:cubicBezTo>
                <a:cubicBezTo>
                  <a:pt x="1167797" y="171974"/>
                  <a:pt x="1169988" y="176577"/>
                  <a:pt x="1171575" y="181339"/>
                </a:cubicBezTo>
                <a:cubicBezTo>
                  <a:pt x="1169988" y="192452"/>
                  <a:pt x="1169014" y="203670"/>
                  <a:pt x="1166813" y="214677"/>
                </a:cubicBezTo>
                <a:cubicBezTo>
                  <a:pt x="1165828" y="219600"/>
                  <a:pt x="1167070" y="228964"/>
                  <a:pt x="1162050" y="228964"/>
                </a:cubicBezTo>
                <a:cubicBezTo>
                  <a:pt x="1157030" y="228964"/>
                  <a:pt x="1158875" y="219439"/>
                  <a:pt x="1157288" y="214677"/>
                </a:cubicBezTo>
                <a:cubicBezTo>
                  <a:pt x="1155700" y="219439"/>
                  <a:pt x="1152525" y="223944"/>
                  <a:pt x="1152525" y="228964"/>
                </a:cubicBezTo>
                <a:cubicBezTo>
                  <a:pt x="1152525" y="236082"/>
                  <a:pt x="1159037" y="257858"/>
                  <a:pt x="1166813" y="262302"/>
                </a:cubicBezTo>
                <a:cubicBezTo>
                  <a:pt x="1173841" y="266318"/>
                  <a:pt x="1182586" y="266118"/>
                  <a:pt x="1190625" y="267064"/>
                </a:cubicBezTo>
                <a:cubicBezTo>
                  <a:pt x="1209610" y="269298"/>
                  <a:pt x="1228725" y="270239"/>
                  <a:pt x="1247775" y="271827"/>
                </a:cubicBezTo>
                <a:cubicBezTo>
                  <a:pt x="1270977" y="306629"/>
                  <a:pt x="1242661" y="262876"/>
                  <a:pt x="1266825" y="305164"/>
                </a:cubicBezTo>
                <a:cubicBezTo>
                  <a:pt x="1269665" y="310134"/>
                  <a:pt x="1274025" y="314221"/>
                  <a:pt x="1276350" y="319452"/>
                </a:cubicBezTo>
                <a:cubicBezTo>
                  <a:pt x="1299018" y="370456"/>
                  <a:pt x="1273845" y="329982"/>
                  <a:pt x="1295400" y="362314"/>
                </a:cubicBezTo>
                <a:cubicBezTo>
                  <a:pt x="1290354" y="402685"/>
                  <a:pt x="1287252" y="404581"/>
                  <a:pt x="1295400" y="448039"/>
                </a:cubicBezTo>
                <a:cubicBezTo>
                  <a:pt x="1296812" y="455571"/>
                  <a:pt x="1305013" y="483352"/>
                  <a:pt x="1314450" y="490902"/>
                </a:cubicBezTo>
                <a:cubicBezTo>
                  <a:pt x="1318370" y="494038"/>
                  <a:pt x="1323975" y="494077"/>
                  <a:pt x="1328738" y="495664"/>
                </a:cubicBezTo>
                <a:cubicBezTo>
                  <a:pt x="1351176" y="529321"/>
                  <a:pt x="1351331" y="515438"/>
                  <a:pt x="1343025" y="552814"/>
                </a:cubicBezTo>
                <a:cubicBezTo>
                  <a:pt x="1341936" y="557715"/>
                  <a:pt x="1342183" y="563966"/>
                  <a:pt x="1338263" y="567102"/>
                </a:cubicBezTo>
                <a:cubicBezTo>
                  <a:pt x="1333152" y="571191"/>
                  <a:pt x="1325563" y="570277"/>
                  <a:pt x="1319213" y="571864"/>
                </a:cubicBezTo>
                <a:cubicBezTo>
                  <a:pt x="1278264" y="599162"/>
                  <a:pt x="1330074" y="566433"/>
                  <a:pt x="1290638" y="586152"/>
                </a:cubicBezTo>
                <a:cubicBezTo>
                  <a:pt x="1285518" y="588712"/>
                  <a:pt x="1281710" y="593667"/>
                  <a:pt x="1276350" y="595677"/>
                </a:cubicBezTo>
                <a:cubicBezTo>
                  <a:pt x="1268771" y="598519"/>
                  <a:pt x="1260475" y="598852"/>
                  <a:pt x="1252538" y="600439"/>
                </a:cubicBezTo>
                <a:cubicBezTo>
                  <a:pt x="1239838" y="598852"/>
                  <a:pt x="1226953" y="598359"/>
                  <a:pt x="1214438" y="595677"/>
                </a:cubicBezTo>
                <a:cubicBezTo>
                  <a:pt x="1204621" y="593573"/>
                  <a:pt x="1185863" y="586152"/>
                  <a:pt x="1185863" y="586152"/>
                </a:cubicBezTo>
                <a:cubicBezTo>
                  <a:pt x="1181100" y="587739"/>
                  <a:pt x="1175125" y="587364"/>
                  <a:pt x="1171575" y="590914"/>
                </a:cubicBezTo>
                <a:cubicBezTo>
                  <a:pt x="1161795" y="600694"/>
                  <a:pt x="1169766" y="626543"/>
                  <a:pt x="1171575" y="633777"/>
                </a:cubicBezTo>
                <a:cubicBezTo>
                  <a:pt x="1179657" y="666104"/>
                  <a:pt x="1173090" y="659683"/>
                  <a:pt x="1195388" y="667114"/>
                </a:cubicBezTo>
                <a:cubicBezTo>
                  <a:pt x="1193800" y="682989"/>
                  <a:pt x="1193565" y="699058"/>
                  <a:pt x="1190625" y="714739"/>
                </a:cubicBezTo>
                <a:cubicBezTo>
                  <a:pt x="1188775" y="724607"/>
                  <a:pt x="1189454" y="737745"/>
                  <a:pt x="1181100" y="743314"/>
                </a:cubicBezTo>
                <a:cubicBezTo>
                  <a:pt x="1162636" y="755624"/>
                  <a:pt x="1172243" y="751029"/>
                  <a:pt x="1152525" y="757602"/>
                </a:cubicBezTo>
                <a:cubicBezTo>
                  <a:pt x="1149350" y="762364"/>
                  <a:pt x="1143941" y="766243"/>
                  <a:pt x="1143000" y="771889"/>
                </a:cubicBezTo>
                <a:cubicBezTo>
                  <a:pt x="1139077" y="795430"/>
                  <a:pt x="1139232" y="819482"/>
                  <a:pt x="1138238" y="843327"/>
                </a:cubicBezTo>
                <a:cubicBezTo>
                  <a:pt x="1136056" y="895693"/>
                  <a:pt x="1135063" y="948102"/>
                  <a:pt x="1133475" y="1000489"/>
                </a:cubicBezTo>
                <a:cubicBezTo>
                  <a:pt x="1135063" y="1017952"/>
                  <a:pt x="1132693" y="1036242"/>
                  <a:pt x="1138238" y="1052877"/>
                </a:cubicBezTo>
                <a:cubicBezTo>
                  <a:pt x="1139825" y="1057639"/>
                  <a:pt x="1148605" y="1054503"/>
                  <a:pt x="1152525" y="1057639"/>
                </a:cubicBezTo>
                <a:cubicBezTo>
                  <a:pt x="1156995" y="1061215"/>
                  <a:pt x="1158875" y="1067164"/>
                  <a:pt x="1162050" y="1071927"/>
                </a:cubicBezTo>
                <a:cubicBezTo>
                  <a:pt x="1134753" y="1112870"/>
                  <a:pt x="1167480" y="1061067"/>
                  <a:pt x="1147763" y="1100502"/>
                </a:cubicBezTo>
                <a:cubicBezTo>
                  <a:pt x="1145203" y="1105621"/>
                  <a:pt x="1140798" y="1109670"/>
                  <a:pt x="1138238" y="1114789"/>
                </a:cubicBezTo>
                <a:cubicBezTo>
                  <a:pt x="1135993" y="1119279"/>
                  <a:pt x="1137025" y="1125527"/>
                  <a:pt x="1133475" y="1129077"/>
                </a:cubicBezTo>
                <a:cubicBezTo>
                  <a:pt x="1129925" y="1132627"/>
                  <a:pt x="1123950" y="1132252"/>
                  <a:pt x="1119188" y="1133839"/>
                </a:cubicBezTo>
                <a:cubicBezTo>
                  <a:pt x="1114425" y="1137014"/>
                  <a:pt x="1108075" y="1138601"/>
                  <a:pt x="1104900" y="1143364"/>
                </a:cubicBezTo>
                <a:cubicBezTo>
                  <a:pt x="1101269" y="1148810"/>
                  <a:pt x="1100861" y="1155909"/>
                  <a:pt x="1100138" y="1162414"/>
                </a:cubicBezTo>
                <a:cubicBezTo>
                  <a:pt x="1097677" y="1184559"/>
                  <a:pt x="1099247" y="1207146"/>
                  <a:pt x="1095375" y="1229089"/>
                </a:cubicBezTo>
                <a:cubicBezTo>
                  <a:pt x="1094380" y="1234726"/>
                  <a:pt x="1090704" y="1240343"/>
                  <a:pt x="1085850" y="1243377"/>
                </a:cubicBezTo>
                <a:cubicBezTo>
                  <a:pt x="1078118" y="1248209"/>
                  <a:pt x="1049379" y="1254876"/>
                  <a:pt x="1038225" y="1257664"/>
                </a:cubicBezTo>
                <a:cubicBezTo>
                  <a:pt x="1023938" y="1300525"/>
                  <a:pt x="1039812" y="1278302"/>
                  <a:pt x="1014413" y="1291002"/>
                </a:cubicBezTo>
                <a:cubicBezTo>
                  <a:pt x="1009293" y="1293562"/>
                  <a:pt x="1004888" y="1297352"/>
                  <a:pt x="1000125" y="1300527"/>
                </a:cubicBezTo>
                <a:cubicBezTo>
                  <a:pt x="968375" y="1298939"/>
                  <a:pt x="936665" y="1295764"/>
                  <a:pt x="904875" y="1295764"/>
                </a:cubicBezTo>
                <a:cubicBezTo>
                  <a:pt x="899855" y="1295764"/>
                  <a:pt x="894138" y="1296977"/>
                  <a:pt x="890588" y="1300527"/>
                </a:cubicBezTo>
                <a:cubicBezTo>
                  <a:pt x="887038" y="1304077"/>
                  <a:pt x="887413" y="1310052"/>
                  <a:pt x="885825" y="1314814"/>
                </a:cubicBezTo>
                <a:cubicBezTo>
                  <a:pt x="887413" y="1319577"/>
                  <a:pt x="888343" y="1324612"/>
                  <a:pt x="890588" y="1329102"/>
                </a:cubicBezTo>
                <a:cubicBezTo>
                  <a:pt x="893148" y="1334221"/>
                  <a:pt x="898607" y="1337867"/>
                  <a:pt x="900113" y="1343389"/>
                </a:cubicBezTo>
                <a:cubicBezTo>
                  <a:pt x="903481" y="1355737"/>
                  <a:pt x="901508" y="1369141"/>
                  <a:pt x="904875" y="1381489"/>
                </a:cubicBezTo>
                <a:cubicBezTo>
                  <a:pt x="906381" y="1387011"/>
                  <a:pt x="911840" y="1390657"/>
                  <a:pt x="914400" y="1395777"/>
                </a:cubicBezTo>
                <a:cubicBezTo>
                  <a:pt x="916645" y="1400267"/>
                  <a:pt x="917575" y="1405302"/>
                  <a:pt x="919163" y="1410064"/>
                </a:cubicBezTo>
                <a:cubicBezTo>
                  <a:pt x="917639" y="1416161"/>
                  <a:pt x="913052" y="1436574"/>
                  <a:pt x="909638" y="1443402"/>
                </a:cubicBezTo>
                <a:cubicBezTo>
                  <a:pt x="891170" y="1480339"/>
                  <a:pt x="907325" y="1436056"/>
                  <a:pt x="895350" y="1471977"/>
                </a:cubicBezTo>
                <a:cubicBezTo>
                  <a:pt x="893763" y="1481502"/>
                  <a:pt x="899601" y="1497086"/>
                  <a:pt x="890588" y="1500552"/>
                </a:cubicBezTo>
                <a:cubicBezTo>
                  <a:pt x="873869" y="1506982"/>
                  <a:pt x="835906" y="1496406"/>
                  <a:pt x="814388" y="1491027"/>
                </a:cubicBezTo>
                <a:cubicBezTo>
                  <a:pt x="811213" y="1495789"/>
                  <a:pt x="809171" y="1501545"/>
                  <a:pt x="804863" y="1505314"/>
                </a:cubicBezTo>
                <a:cubicBezTo>
                  <a:pt x="796248" y="1512852"/>
                  <a:pt x="776288" y="1524364"/>
                  <a:pt x="776288" y="1524364"/>
                </a:cubicBezTo>
                <a:cubicBezTo>
                  <a:pt x="735044" y="1514054"/>
                  <a:pt x="776768" y="1529607"/>
                  <a:pt x="747713" y="1500552"/>
                </a:cubicBezTo>
                <a:cubicBezTo>
                  <a:pt x="744163" y="1497002"/>
                  <a:pt x="738377" y="1496614"/>
                  <a:pt x="733425" y="1495789"/>
                </a:cubicBezTo>
                <a:cubicBezTo>
                  <a:pt x="719245" y="1493426"/>
                  <a:pt x="704850" y="1492614"/>
                  <a:pt x="690563" y="1491027"/>
                </a:cubicBezTo>
                <a:cubicBezTo>
                  <a:pt x="685800" y="1486264"/>
                  <a:pt x="679010" y="1482894"/>
                  <a:pt x="676275" y="1476739"/>
                </a:cubicBezTo>
                <a:cubicBezTo>
                  <a:pt x="672353" y="1467915"/>
                  <a:pt x="674054" y="1457480"/>
                  <a:pt x="671513" y="1448164"/>
                </a:cubicBezTo>
                <a:cubicBezTo>
                  <a:pt x="669264" y="1439916"/>
                  <a:pt x="664990" y="1432356"/>
                  <a:pt x="661988" y="1424352"/>
                </a:cubicBezTo>
                <a:cubicBezTo>
                  <a:pt x="660225" y="1419651"/>
                  <a:pt x="659470" y="1414554"/>
                  <a:pt x="657225" y="1410064"/>
                </a:cubicBezTo>
                <a:cubicBezTo>
                  <a:pt x="648868" y="1393351"/>
                  <a:pt x="644552" y="1393416"/>
                  <a:pt x="628650" y="1381489"/>
                </a:cubicBezTo>
                <a:cubicBezTo>
                  <a:pt x="627063" y="1376727"/>
                  <a:pt x="627808" y="1370338"/>
                  <a:pt x="623888" y="1367202"/>
                </a:cubicBezTo>
                <a:cubicBezTo>
                  <a:pt x="618777" y="1363113"/>
                  <a:pt x="610854" y="1365017"/>
                  <a:pt x="604838" y="1362439"/>
                </a:cubicBezTo>
                <a:cubicBezTo>
                  <a:pt x="599577" y="1360184"/>
                  <a:pt x="596103" y="1354302"/>
                  <a:pt x="590550" y="1352914"/>
                </a:cubicBezTo>
                <a:cubicBezTo>
                  <a:pt x="576604" y="1349428"/>
                  <a:pt x="561975" y="1349739"/>
                  <a:pt x="547688" y="1348152"/>
                </a:cubicBezTo>
                <a:cubicBezTo>
                  <a:pt x="541338" y="1346564"/>
                  <a:pt x="534907" y="1345270"/>
                  <a:pt x="528638" y="1343389"/>
                </a:cubicBezTo>
                <a:cubicBezTo>
                  <a:pt x="519021" y="1340504"/>
                  <a:pt x="500063" y="1333864"/>
                  <a:pt x="500063" y="1333864"/>
                </a:cubicBezTo>
                <a:cubicBezTo>
                  <a:pt x="498475" y="1327514"/>
                  <a:pt x="498547" y="1320497"/>
                  <a:pt x="495300" y="1314814"/>
                </a:cubicBezTo>
                <a:cubicBezTo>
                  <a:pt x="491958" y="1308966"/>
                  <a:pt x="485325" y="1305701"/>
                  <a:pt x="481013" y="1300527"/>
                </a:cubicBezTo>
                <a:cubicBezTo>
                  <a:pt x="477349" y="1296130"/>
                  <a:pt x="475535" y="1290286"/>
                  <a:pt x="471488" y="1286239"/>
                </a:cubicBezTo>
                <a:cubicBezTo>
                  <a:pt x="467441" y="1282192"/>
                  <a:pt x="461597" y="1280378"/>
                  <a:pt x="457200" y="1276714"/>
                </a:cubicBezTo>
                <a:cubicBezTo>
                  <a:pt x="433416" y="1256895"/>
                  <a:pt x="453735" y="1266035"/>
                  <a:pt x="428625" y="1257664"/>
                </a:cubicBezTo>
                <a:cubicBezTo>
                  <a:pt x="406400" y="1224327"/>
                  <a:pt x="419100" y="1235439"/>
                  <a:pt x="395288" y="1219564"/>
                </a:cubicBezTo>
                <a:cubicBezTo>
                  <a:pt x="392113" y="1214802"/>
                  <a:pt x="390525" y="1208452"/>
                  <a:pt x="385763" y="1205277"/>
                </a:cubicBezTo>
                <a:cubicBezTo>
                  <a:pt x="322220" y="1162915"/>
                  <a:pt x="406212" y="1235811"/>
                  <a:pt x="352425" y="1190989"/>
                </a:cubicBezTo>
                <a:cubicBezTo>
                  <a:pt x="347251" y="1186677"/>
                  <a:pt x="343207" y="1181137"/>
                  <a:pt x="338138" y="1176702"/>
                </a:cubicBezTo>
                <a:cubicBezTo>
                  <a:pt x="320039" y="1160866"/>
                  <a:pt x="317048" y="1159468"/>
                  <a:pt x="300038" y="1148127"/>
                </a:cubicBezTo>
                <a:cubicBezTo>
                  <a:pt x="281504" y="1120324"/>
                  <a:pt x="302217" y="1144454"/>
                  <a:pt x="271463" y="1129077"/>
                </a:cubicBezTo>
                <a:cubicBezTo>
                  <a:pt x="205950" y="1096321"/>
                  <a:pt x="268115" y="1118437"/>
                  <a:pt x="228600" y="1105264"/>
                </a:cubicBezTo>
                <a:cubicBezTo>
                  <a:pt x="204988" y="1069848"/>
                  <a:pt x="222992" y="1101993"/>
                  <a:pt x="214313" y="1019539"/>
                </a:cubicBezTo>
                <a:cubicBezTo>
                  <a:pt x="213628" y="1013029"/>
                  <a:pt x="211348" y="1006783"/>
                  <a:pt x="209550" y="1000489"/>
                </a:cubicBezTo>
                <a:cubicBezTo>
                  <a:pt x="208171" y="995662"/>
                  <a:pt x="208708" y="989338"/>
                  <a:pt x="204788" y="986202"/>
                </a:cubicBezTo>
                <a:cubicBezTo>
                  <a:pt x="199677" y="982113"/>
                  <a:pt x="192088" y="983027"/>
                  <a:pt x="185738" y="981439"/>
                </a:cubicBezTo>
                <a:cubicBezTo>
                  <a:pt x="180975" y="978264"/>
                  <a:pt x="175498" y="975961"/>
                  <a:pt x="171450" y="971914"/>
                </a:cubicBezTo>
                <a:cubicBezTo>
                  <a:pt x="139697" y="940162"/>
                  <a:pt x="185741" y="973505"/>
                  <a:pt x="147638" y="948102"/>
                </a:cubicBezTo>
                <a:cubicBezTo>
                  <a:pt x="144463" y="940164"/>
                  <a:pt x="140817" y="932399"/>
                  <a:pt x="138113" y="924289"/>
                </a:cubicBezTo>
                <a:cubicBezTo>
                  <a:pt x="133493" y="910428"/>
                  <a:pt x="135642" y="901292"/>
                  <a:pt x="123825" y="890952"/>
                </a:cubicBezTo>
                <a:cubicBezTo>
                  <a:pt x="115210" y="883414"/>
                  <a:pt x="95250" y="871902"/>
                  <a:pt x="95250" y="871902"/>
                </a:cubicBezTo>
                <a:cubicBezTo>
                  <a:pt x="72045" y="837094"/>
                  <a:pt x="102928" y="878299"/>
                  <a:pt x="66675" y="848089"/>
                </a:cubicBezTo>
                <a:cubicBezTo>
                  <a:pt x="62278" y="844425"/>
                  <a:pt x="61197" y="837849"/>
                  <a:pt x="57150" y="833802"/>
                </a:cubicBezTo>
                <a:cubicBezTo>
                  <a:pt x="53103" y="829755"/>
                  <a:pt x="47625" y="827452"/>
                  <a:pt x="42863" y="824277"/>
                </a:cubicBezTo>
                <a:cubicBezTo>
                  <a:pt x="44947" y="809687"/>
                  <a:pt x="43176" y="787831"/>
                  <a:pt x="57150" y="776652"/>
                </a:cubicBezTo>
                <a:cubicBezTo>
                  <a:pt x="61070" y="773516"/>
                  <a:pt x="66675" y="773477"/>
                  <a:pt x="71438" y="771889"/>
                </a:cubicBezTo>
                <a:cubicBezTo>
                  <a:pt x="73025" y="767127"/>
                  <a:pt x="76200" y="762622"/>
                  <a:pt x="76200" y="757602"/>
                </a:cubicBezTo>
                <a:cubicBezTo>
                  <a:pt x="76200" y="747946"/>
                  <a:pt x="75756" y="737664"/>
                  <a:pt x="71438" y="729027"/>
                </a:cubicBezTo>
                <a:cubicBezTo>
                  <a:pt x="67746" y="721642"/>
                  <a:pt x="49624" y="716993"/>
                  <a:pt x="42863" y="714739"/>
                </a:cubicBezTo>
                <a:cubicBezTo>
                  <a:pt x="15874" y="674258"/>
                  <a:pt x="60328" y="736967"/>
                  <a:pt x="4763" y="681402"/>
                </a:cubicBezTo>
                <a:cubicBezTo>
                  <a:pt x="1213" y="677852"/>
                  <a:pt x="1588" y="671877"/>
                  <a:pt x="0" y="667114"/>
                </a:cubicBezTo>
                <a:cubicBezTo>
                  <a:pt x="4763" y="663939"/>
                  <a:pt x="9168" y="660149"/>
                  <a:pt x="14288" y="657589"/>
                </a:cubicBezTo>
                <a:cubicBezTo>
                  <a:pt x="53724" y="637872"/>
                  <a:pt x="1914" y="670600"/>
                  <a:pt x="42863" y="643302"/>
                </a:cubicBezTo>
                <a:cubicBezTo>
                  <a:pt x="41275" y="619489"/>
                  <a:pt x="42024" y="595405"/>
                  <a:pt x="38100" y="571864"/>
                </a:cubicBezTo>
                <a:cubicBezTo>
                  <a:pt x="37159" y="566218"/>
                  <a:pt x="31135" y="562696"/>
                  <a:pt x="28575" y="557577"/>
                </a:cubicBezTo>
                <a:cubicBezTo>
                  <a:pt x="26330" y="553087"/>
                  <a:pt x="25400" y="548052"/>
                  <a:pt x="23813" y="543289"/>
                </a:cubicBezTo>
                <a:cubicBezTo>
                  <a:pt x="28575" y="540114"/>
                  <a:pt x="32411" y="534396"/>
                  <a:pt x="38100" y="533764"/>
                </a:cubicBezTo>
                <a:cubicBezTo>
                  <a:pt x="50669" y="532368"/>
                  <a:pt x="68409" y="539105"/>
                  <a:pt x="80963" y="543289"/>
                </a:cubicBezTo>
                <a:cubicBezTo>
                  <a:pt x="95250" y="541702"/>
                  <a:pt x="109645" y="540890"/>
                  <a:pt x="123825" y="538527"/>
                </a:cubicBezTo>
                <a:cubicBezTo>
                  <a:pt x="128777" y="537702"/>
                  <a:pt x="134193" y="536900"/>
                  <a:pt x="138113" y="533764"/>
                </a:cubicBezTo>
                <a:cubicBezTo>
                  <a:pt x="142582" y="530188"/>
                  <a:pt x="144463" y="524239"/>
                  <a:pt x="147638" y="519477"/>
                </a:cubicBezTo>
                <a:cubicBezTo>
                  <a:pt x="149225" y="514714"/>
                  <a:pt x="151079" y="510032"/>
                  <a:pt x="152400" y="505189"/>
                </a:cubicBezTo>
                <a:cubicBezTo>
                  <a:pt x="155844" y="492559"/>
                  <a:pt x="154663" y="477981"/>
                  <a:pt x="161925" y="467089"/>
                </a:cubicBezTo>
                <a:cubicBezTo>
                  <a:pt x="182979" y="435509"/>
                  <a:pt x="158232" y="470605"/>
                  <a:pt x="185738" y="438514"/>
                </a:cubicBezTo>
                <a:cubicBezTo>
                  <a:pt x="190904" y="432487"/>
                  <a:pt x="195411" y="425923"/>
                  <a:pt x="200025" y="419464"/>
                </a:cubicBezTo>
                <a:cubicBezTo>
                  <a:pt x="203352" y="414806"/>
                  <a:pt x="205503" y="409224"/>
                  <a:pt x="209550" y="405177"/>
                </a:cubicBezTo>
                <a:cubicBezTo>
                  <a:pt x="213598" y="401130"/>
                  <a:pt x="218607" y="397977"/>
                  <a:pt x="223838" y="395652"/>
                </a:cubicBezTo>
                <a:cubicBezTo>
                  <a:pt x="238743" y="389027"/>
                  <a:pt x="255632" y="385322"/>
                  <a:pt x="271463" y="381364"/>
                </a:cubicBezTo>
                <a:cubicBezTo>
                  <a:pt x="280988" y="375014"/>
                  <a:pt x="293688" y="371839"/>
                  <a:pt x="300038" y="362314"/>
                </a:cubicBezTo>
                <a:lnTo>
                  <a:pt x="319088" y="333739"/>
                </a:lnTo>
                <a:cubicBezTo>
                  <a:pt x="320675" y="328977"/>
                  <a:pt x="320300" y="323002"/>
                  <a:pt x="323850" y="319452"/>
                </a:cubicBezTo>
                <a:cubicBezTo>
                  <a:pt x="331945" y="311357"/>
                  <a:pt x="342900" y="306752"/>
                  <a:pt x="352425" y="300402"/>
                </a:cubicBezTo>
                <a:cubicBezTo>
                  <a:pt x="358029" y="296666"/>
                  <a:pt x="361109" y="289850"/>
                  <a:pt x="366713" y="286114"/>
                </a:cubicBezTo>
                <a:cubicBezTo>
                  <a:pt x="370890" y="283329"/>
                  <a:pt x="376238" y="282939"/>
                  <a:pt x="381000" y="281352"/>
                </a:cubicBezTo>
                <a:cubicBezTo>
                  <a:pt x="385763" y="278177"/>
                  <a:pt x="390057" y="274152"/>
                  <a:pt x="395288" y="271827"/>
                </a:cubicBezTo>
                <a:cubicBezTo>
                  <a:pt x="404463" y="267749"/>
                  <a:pt x="414338" y="265477"/>
                  <a:pt x="423863" y="262302"/>
                </a:cubicBezTo>
                <a:lnTo>
                  <a:pt x="438150" y="257539"/>
                </a:lnTo>
                <a:lnTo>
                  <a:pt x="452438" y="252777"/>
                </a:lnTo>
                <a:lnTo>
                  <a:pt x="466725" y="248014"/>
                </a:lnTo>
                <a:cubicBezTo>
                  <a:pt x="509347" y="252277"/>
                  <a:pt x="515890" y="256279"/>
                  <a:pt x="557213" y="248014"/>
                </a:cubicBezTo>
                <a:cubicBezTo>
                  <a:pt x="567058" y="246045"/>
                  <a:pt x="585788" y="238489"/>
                  <a:pt x="585788" y="238489"/>
                </a:cubicBezTo>
                <a:cubicBezTo>
                  <a:pt x="587375" y="227377"/>
                  <a:pt x="584524" y="214622"/>
                  <a:pt x="590550" y="205152"/>
                </a:cubicBezTo>
                <a:cubicBezTo>
                  <a:pt x="594782" y="198501"/>
                  <a:pt x="627646" y="181089"/>
                  <a:pt x="638175" y="176577"/>
                </a:cubicBezTo>
                <a:cubicBezTo>
                  <a:pt x="642789" y="174599"/>
                  <a:pt x="647449" y="172059"/>
                  <a:pt x="652463" y="171814"/>
                </a:cubicBezTo>
                <a:cubicBezTo>
                  <a:pt x="712737" y="168874"/>
                  <a:pt x="773113" y="168639"/>
                  <a:pt x="833438" y="167052"/>
                </a:cubicBezTo>
                <a:cubicBezTo>
                  <a:pt x="835025" y="162289"/>
                  <a:pt x="837437" y="157726"/>
                  <a:pt x="838200" y="152764"/>
                </a:cubicBezTo>
                <a:cubicBezTo>
                  <a:pt x="840626" y="136995"/>
                  <a:pt x="840023" y="120820"/>
                  <a:pt x="842963" y="105139"/>
                </a:cubicBezTo>
                <a:cubicBezTo>
                  <a:pt x="844813" y="95271"/>
                  <a:pt x="849313" y="86089"/>
                  <a:pt x="852488" y="76564"/>
                </a:cubicBezTo>
                <a:cubicBezTo>
                  <a:pt x="860871" y="51416"/>
                  <a:pt x="854464" y="66456"/>
                  <a:pt x="876300" y="33702"/>
                </a:cubicBezTo>
                <a:cubicBezTo>
                  <a:pt x="879085" y="29525"/>
                  <a:pt x="885825" y="30527"/>
                  <a:pt x="890588" y="28939"/>
                </a:cubicBezTo>
                <a:cubicBezTo>
                  <a:pt x="896938" y="30527"/>
                  <a:pt x="903622" y="31124"/>
                  <a:pt x="909638" y="33702"/>
                </a:cubicBezTo>
                <a:cubicBezTo>
                  <a:pt x="914899" y="35957"/>
                  <a:pt x="918279" y="44168"/>
                  <a:pt x="923925" y="43227"/>
                </a:cubicBezTo>
                <a:cubicBezTo>
                  <a:pt x="930569" y="42120"/>
                  <a:pt x="933450" y="33702"/>
                  <a:pt x="938213" y="28939"/>
                </a:cubicBezTo>
                <a:cubicBezTo>
                  <a:pt x="944481" y="10134"/>
                  <a:pt x="938213" y="2745"/>
                  <a:pt x="942975" y="364"/>
                </a:cubicBezTo>
                <a:close/>
              </a:path>
            </a:pathLst>
          </a:custGeom>
          <a:solidFill>
            <a:srgbClr val="92D050">
              <a:alpha val="48000"/>
            </a:srgbClr>
          </a:solidFill>
          <a:ln w="762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4291" tIns="32146" rIns="64291" bIns="32146" numCol="1" rtlCol="0" anchor="t" anchorCtr="0" compatLnSpc="1">
            <a:prstTxWarp prst="textNoShape">
              <a:avLst/>
            </a:prstTxWarp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endParaRPr lang="hu-HU" sz="800" dirty="0" err="1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9" name="Szabadkézi sokszög 18"/>
          <p:cNvSpPr/>
          <p:nvPr/>
        </p:nvSpPr>
        <p:spPr bwMode="gray">
          <a:xfrm>
            <a:off x="471488" y="1871663"/>
            <a:ext cx="2005279" cy="1234994"/>
          </a:xfrm>
          <a:custGeom>
            <a:avLst/>
            <a:gdLst>
              <a:gd name="connsiteX0" fmla="*/ 1928812 w 2005279"/>
              <a:gd name="connsiteY0" fmla="*/ 561975 h 1234994"/>
              <a:gd name="connsiteX1" fmla="*/ 1952625 w 2005279"/>
              <a:gd name="connsiteY1" fmla="*/ 566737 h 1234994"/>
              <a:gd name="connsiteX2" fmla="*/ 1957387 w 2005279"/>
              <a:gd name="connsiteY2" fmla="*/ 581025 h 1234994"/>
              <a:gd name="connsiteX3" fmla="*/ 1943100 w 2005279"/>
              <a:gd name="connsiteY3" fmla="*/ 614362 h 1234994"/>
              <a:gd name="connsiteX4" fmla="*/ 1938337 w 2005279"/>
              <a:gd name="connsiteY4" fmla="*/ 666750 h 1234994"/>
              <a:gd name="connsiteX5" fmla="*/ 1933575 w 2005279"/>
              <a:gd name="connsiteY5" fmla="*/ 681037 h 1234994"/>
              <a:gd name="connsiteX6" fmla="*/ 1938337 w 2005279"/>
              <a:gd name="connsiteY6" fmla="*/ 742950 h 1234994"/>
              <a:gd name="connsiteX7" fmla="*/ 1947862 w 2005279"/>
              <a:gd name="connsiteY7" fmla="*/ 757237 h 1234994"/>
              <a:gd name="connsiteX8" fmla="*/ 1976437 w 2005279"/>
              <a:gd name="connsiteY8" fmla="*/ 766762 h 1234994"/>
              <a:gd name="connsiteX9" fmla="*/ 1985962 w 2005279"/>
              <a:gd name="connsiteY9" fmla="*/ 781050 h 1234994"/>
              <a:gd name="connsiteX10" fmla="*/ 1995487 w 2005279"/>
              <a:gd name="connsiteY10" fmla="*/ 809625 h 1234994"/>
              <a:gd name="connsiteX11" fmla="*/ 1990725 w 2005279"/>
              <a:gd name="connsiteY11" fmla="*/ 842962 h 1234994"/>
              <a:gd name="connsiteX12" fmla="*/ 1971675 w 2005279"/>
              <a:gd name="connsiteY12" fmla="*/ 871537 h 1234994"/>
              <a:gd name="connsiteX13" fmla="*/ 1976437 w 2005279"/>
              <a:gd name="connsiteY13" fmla="*/ 890587 h 1234994"/>
              <a:gd name="connsiteX14" fmla="*/ 1990725 w 2005279"/>
              <a:gd name="connsiteY14" fmla="*/ 895350 h 1234994"/>
              <a:gd name="connsiteX15" fmla="*/ 2000250 w 2005279"/>
              <a:gd name="connsiteY15" fmla="*/ 909637 h 1234994"/>
              <a:gd name="connsiteX16" fmla="*/ 2000250 w 2005279"/>
              <a:gd name="connsiteY16" fmla="*/ 938212 h 1234994"/>
              <a:gd name="connsiteX17" fmla="*/ 1985962 w 2005279"/>
              <a:gd name="connsiteY17" fmla="*/ 942975 h 1234994"/>
              <a:gd name="connsiteX18" fmla="*/ 1943100 w 2005279"/>
              <a:gd name="connsiteY18" fmla="*/ 938212 h 1234994"/>
              <a:gd name="connsiteX19" fmla="*/ 1928812 w 2005279"/>
              <a:gd name="connsiteY19" fmla="*/ 933450 h 1234994"/>
              <a:gd name="connsiteX20" fmla="*/ 1933575 w 2005279"/>
              <a:gd name="connsiteY20" fmla="*/ 947737 h 1234994"/>
              <a:gd name="connsiteX21" fmla="*/ 1938337 w 2005279"/>
              <a:gd name="connsiteY21" fmla="*/ 971550 h 1234994"/>
              <a:gd name="connsiteX22" fmla="*/ 1947862 w 2005279"/>
              <a:gd name="connsiteY22" fmla="*/ 1004887 h 1234994"/>
              <a:gd name="connsiteX23" fmla="*/ 1928812 w 2005279"/>
              <a:gd name="connsiteY23" fmla="*/ 1057275 h 1234994"/>
              <a:gd name="connsiteX24" fmla="*/ 1900237 w 2005279"/>
              <a:gd name="connsiteY24" fmla="*/ 1066800 h 1234994"/>
              <a:gd name="connsiteX25" fmla="*/ 1885950 w 2005279"/>
              <a:gd name="connsiteY25" fmla="*/ 1062037 h 1234994"/>
              <a:gd name="connsiteX26" fmla="*/ 1871662 w 2005279"/>
              <a:gd name="connsiteY26" fmla="*/ 1052512 h 1234994"/>
              <a:gd name="connsiteX27" fmla="*/ 1852612 w 2005279"/>
              <a:gd name="connsiteY27" fmla="*/ 1047750 h 1234994"/>
              <a:gd name="connsiteX28" fmla="*/ 1828800 w 2005279"/>
              <a:gd name="connsiteY28" fmla="*/ 1052512 h 1234994"/>
              <a:gd name="connsiteX29" fmla="*/ 1814512 w 2005279"/>
              <a:gd name="connsiteY29" fmla="*/ 1057275 h 1234994"/>
              <a:gd name="connsiteX30" fmla="*/ 1785937 w 2005279"/>
              <a:gd name="connsiteY30" fmla="*/ 1062037 h 1234994"/>
              <a:gd name="connsiteX31" fmla="*/ 1781175 w 2005279"/>
              <a:gd name="connsiteY31" fmla="*/ 1095375 h 1234994"/>
              <a:gd name="connsiteX32" fmla="*/ 1752600 w 2005279"/>
              <a:gd name="connsiteY32" fmla="*/ 1114425 h 1234994"/>
              <a:gd name="connsiteX33" fmla="*/ 1743075 w 2005279"/>
              <a:gd name="connsiteY33" fmla="*/ 1100137 h 1234994"/>
              <a:gd name="connsiteX34" fmla="*/ 1738312 w 2005279"/>
              <a:gd name="connsiteY34" fmla="*/ 1066800 h 1234994"/>
              <a:gd name="connsiteX35" fmla="*/ 1719262 w 2005279"/>
              <a:gd name="connsiteY35" fmla="*/ 1071562 h 1234994"/>
              <a:gd name="connsiteX36" fmla="*/ 1714500 w 2005279"/>
              <a:gd name="connsiteY36" fmla="*/ 1085850 h 1234994"/>
              <a:gd name="connsiteX37" fmla="*/ 1709737 w 2005279"/>
              <a:gd name="connsiteY37" fmla="*/ 1104900 h 1234994"/>
              <a:gd name="connsiteX38" fmla="*/ 1690687 w 2005279"/>
              <a:gd name="connsiteY38" fmla="*/ 1114425 h 1234994"/>
              <a:gd name="connsiteX39" fmla="*/ 1695450 w 2005279"/>
              <a:gd name="connsiteY39" fmla="*/ 1100137 h 1234994"/>
              <a:gd name="connsiteX40" fmla="*/ 1628775 w 2005279"/>
              <a:gd name="connsiteY40" fmla="*/ 1090612 h 1234994"/>
              <a:gd name="connsiteX41" fmla="*/ 1581150 w 2005279"/>
              <a:gd name="connsiteY41" fmla="*/ 1114425 h 1234994"/>
              <a:gd name="connsiteX42" fmla="*/ 1547812 w 2005279"/>
              <a:gd name="connsiteY42" fmla="*/ 1076325 h 1234994"/>
              <a:gd name="connsiteX43" fmla="*/ 1519237 w 2005279"/>
              <a:gd name="connsiteY43" fmla="*/ 1095375 h 1234994"/>
              <a:gd name="connsiteX44" fmla="*/ 1500187 w 2005279"/>
              <a:gd name="connsiteY44" fmla="*/ 1114425 h 1234994"/>
              <a:gd name="connsiteX45" fmla="*/ 1457325 w 2005279"/>
              <a:gd name="connsiteY45" fmla="*/ 1104900 h 1234994"/>
              <a:gd name="connsiteX46" fmla="*/ 1443037 w 2005279"/>
              <a:gd name="connsiteY46" fmla="*/ 1095375 h 1234994"/>
              <a:gd name="connsiteX47" fmla="*/ 1419225 w 2005279"/>
              <a:gd name="connsiteY47" fmla="*/ 1133475 h 1234994"/>
              <a:gd name="connsiteX48" fmla="*/ 1385887 w 2005279"/>
              <a:gd name="connsiteY48" fmla="*/ 1157287 h 1234994"/>
              <a:gd name="connsiteX49" fmla="*/ 1371600 w 2005279"/>
              <a:gd name="connsiteY49" fmla="*/ 1162050 h 1234994"/>
              <a:gd name="connsiteX50" fmla="*/ 1352550 w 2005279"/>
              <a:gd name="connsiteY50" fmla="*/ 1157287 h 1234994"/>
              <a:gd name="connsiteX51" fmla="*/ 1333500 w 2005279"/>
              <a:gd name="connsiteY51" fmla="*/ 1114425 h 1234994"/>
              <a:gd name="connsiteX52" fmla="*/ 1319212 w 2005279"/>
              <a:gd name="connsiteY52" fmla="*/ 1100137 h 1234994"/>
              <a:gd name="connsiteX53" fmla="*/ 1304925 w 2005279"/>
              <a:gd name="connsiteY53" fmla="*/ 1066800 h 1234994"/>
              <a:gd name="connsiteX54" fmla="*/ 1290637 w 2005279"/>
              <a:gd name="connsiteY54" fmla="*/ 1057275 h 1234994"/>
              <a:gd name="connsiteX55" fmla="*/ 1262062 w 2005279"/>
              <a:gd name="connsiteY55" fmla="*/ 1062037 h 1234994"/>
              <a:gd name="connsiteX56" fmla="*/ 1266825 w 2005279"/>
              <a:gd name="connsiteY56" fmla="*/ 1076325 h 1234994"/>
              <a:gd name="connsiteX57" fmla="*/ 1281112 w 2005279"/>
              <a:gd name="connsiteY57" fmla="*/ 1081087 h 1234994"/>
              <a:gd name="connsiteX58" fmla="*/ 1257300 w 2005279"/>
              <a:gd name="connsiteY58" fmla="*/ 1104900 h 1234994"/>
              <a:gd name="connsiteX59" fmla="*/ 1252537 w 2005279"/>
              <a:gd name="connsiteY59" fmla="*/ 1119187 h 1234994"/>
              <a:gd name="connsiteX60" fmla="*/ 1195387 w 2005279"/>
              <a:gd name="connsiteY60" fmla="*/ 1147762 h 1234994"/>
              <a:gd name="connsiteX61" fmla="*/ 1166812 w 2005279"/>
              <a:gd name="connsiteY61" fmla="*/ 1157287 h 1234994"/>
              <a:gd name="connsiteX62" fmla="*/ 1114425 w 2005279"/>
              <a:gd name="connsiteY62" fmla="*/ 1162050 h 1234994"/>
              <a:gd name="connsiteX63" fmla="*/ 1057275 w 2005279"/>
              <a:gd name="connsiteY63" fmla="*/ 1157287 h 1234994"/>
              <a:gd name="connsiteX64" fmla="*/ 1028700 w 2005279"/>
              <a:gd name="connsiteY64" fmla="*/ 1143000 h 1234994"/>
              <a:gd name="connsiteX65" fmla="*/ 1014412 w 2005279"/>
              <a:gd name="connsiteY65" fmla="*/ 1138237 h 1234994"/>
              <a:gd name="connsiteX66" fmla="*/ 962025 w 2005279"/>
              <a:gd name="connsiteY66" fmla="*/ 1143000 h 1234994"/>
              <a:gd name="connsiteX67" fmla="*/ 933450 w 2005279"/>
              <a:gd name="connsiteY67" fmla="*/ 1152525 h 1234994"/>
              <a:gd name="connsiteX68" fmla="*/ 919162 w 2005279"/>
              <a:gd name="connsiteY68" fmla="*/ 1157287 h 1234994"/>
              <a:gd name="connsiteX69" fmla="*/ 909637 w 2005279"/>
              <a:gd name="connsiteY69" fmla="*/ 1171575 h 1234994"/>
              <a:gd name="connsiteX70" fmla="*/ 881062 w 2005279"/>
              <a:gd name="connsiteY70" fmla="*/ 1185862 h 1234994"/>
              <a:gd name="connsiteX71" fmla="*/ 838200 w 2005279"/>
              <a:gd name="connsiteY71" fmla="*/ 1204912 h 1234994"/>
              <a:gd name="connsiteX72" fmla="*/ 823912 w 2005279"/>
              <a:gd name="connsiteY72" fmla="*/ 1209675 h 1234994"/>
              <a:gd name="connsiteX73" fmla="*/ 814387 w 2005279"/>
              <a:gd name="connsiteY73" fmla="*/ 1233487 h 1234994"/>
              <a:gd name="connsiteX74" fmla="*/ 819150 w 2005279"/>
              <a:gd name="connsiteY74" fmla="*/ 1200150 h 1234994"/>
              <a:gd name="connsiteX75" fmla="*/ 828675 w 2005279"/>
              <a:gd name="connsiteY75" fmla="*/ 1171575 h 1234994"/>
              <a:gd name="connsiteX76" fmla="*/ 828675 w 2005279"/>
              <a:gd name="connsiteY76" fmla="*/ 1119187 h 1234994"/>
              <a:gd name="connsiteX77" fmla="*/ 800100 w 2005279"/>
              <a:gd name="connsiteY77" fmla="*/ 1100137 h 1234994"/>
              <a:gd name="connsiteX78" fmla="*/ 776287 w 2005279"/>
              <a:gd name="connsiteY78" fmla="*/ 1133475 h 1234994"/>
              <a:gd name="connsiteX79" fmla="*/ 762000 w 2005279"/>
              <a:gd name="connsiteY79" fmla="*/ 1143000 h 1234994"/>
              <a:gd name="connsiteX80" fmla="*/ 733425 w 2005279"/>
              <a:gd name="connsiteY80" fmla="*/ 1152525 h 1234994"/>
              <a:gd name="connsiteX81" fmla="*/ 719137 w 2005279"/>
              <a:gd name="connsiteY81" fmla="*/ 1166812 h 1234994"/>
              <a:gd name="connsiteX82" fmla="*/ 709612 w 2005279"/>
              <a:gd name="connsiteY82" fmla="*/ 1181100 h 1234994"/>
              <a:gd name="connsiteX83" fmla="*/ 695325 w 2005279"/>
              <a:gd name="connsiteY83" fmla="*/ 1190625 h 1234994"/>
              <a:gd name="connsiteX84" fmla="*/ 666750 w 2005279"/>
              <a:gd name="connsiteY84" fmla="*/ 1219200 h 1234994"/>
              <a:gd name="connsiteX85" fmla="*/ 642937 w 2005279"/>
              <a:gd name="connsiteY85" fmla="*/ 1200150 h 1234994"/>
              <a:gd name="connsiteX86" fmla="*/ 638175 w 2005279"/>
              <a:gd name="connsiteY86" fmla="*/ 1185862 h 1234994"/>
              <a:gd name="connsiteX87" fmla="*/ 581025 w 2005279"/>
              <a:gd name="connsiteY87" fmla="*/ 1171575 h 1234994"/>
              <a:gd name="connsiteX88" fmla="*/ 566737 w 2005279"/>
              <a:gd name="connsiteY88" fmla="*/ 1162050 h 1234994"/>
              <a:gd name="connsiteX89" fmla="*/ 561975 w 2005279"/>
              <a:gd name="connsiteY89" fmla="*/ 1143000 h 1234994"/>
              <a:gd name="connsiteX90" fmla="*/ 485775 w 2005279"/>
              <a:gd name="connsiteY90" fmla="*/ 1147762 h 1234994"/>
              <a:gd name="connsiteX91" fmla="*/ 438150 w 2005279"/>
              <a:gd name="connsiteY91" fmla="*/ 1162050 h 1234994"/>
              <a:gd name="connsiteX92" fmla="*/ 361950 w 2005279"/>
              <a:gd name="connsiteY92" fmla="*/ 1166812 h 1234994"/>
              <a:gd name="connsiteX93" fmla="*/ 319087 w 2005279"/>
              <a:gd name="connsiteY93" fmla="*/ 1171575 h 1234994"/>
              <a:gd name="connsiteX94" fmla="*/ 295275 w 2005279"/>
              <a:gd name="connsiteY94" fmla="*/ 1128712 h 1234994"/>
              <a:gd name="connsiteX95" fmla="*/ 314325 w 2005279"/>
              <a:gd name="connsiteY95" fmla="*/ 1085850 h 1234994"/>
              <a:gd name="connsiteX96" fmla="*/ 304800 w 2005279"/>
              <a:gd name="connsiteY96" fmla="*/ 1057275 h 1234994"/>
              <a:gd name="connsiteX97" fmla="*/ 290512 w 2005279"/>
              <a:gd name="connsiteY97" fmla="*/ 1052512 h 1234994"/>
              <a:gd name="connsiteX98" fmla="*/ 280987 w 2005279"/>
              <a:gd name="connsiteY98" fmla="*/ 1038225 h 1234994"/>
              <a:gd name="connsiteX99" fmla="*/ 285750 w 2005279"/>
              <a:gd name="connsiteY99" fmla="*/ 1004887 h 1234994"/>
              <a:gd name="connsiteX100" fmla="*/ 300037 w 2005279"/>
              <a:gd name="connsiteY100" fmla="*/ 1000125 h 1234994"/>
              <a:gd name="connsiteX101" fmla="*/ 342900 w 2005279"/>
              <a:gd name="connsiteY101" fmla="*/ 995362 h 1234994"/>
              <a:gd name="connsiteX102" fmla="*/ 357187 w 2005279"/>
              <a:gd name="connsiteY102" fmla="*/ 990600 h 1234994"/>
              <a:gd name="connsiteX103" fmla="*/ 347662 w 2005279"/>
              <a:gd name="connsiteY103" fmla="*/ 962025 h 1234994"/>
              <a:gd name="connsiteX104" fmla="*/ 342900 w 2005279"/>
              <a:gd name="connsiteY104" fmla="*/ 938212 h 1234994"/>
              <a:gd name="connsiteX105" fmla="*/ 338137 w 2005279"/>
              <a:gd name="connsiteY105" fmla="*/ 904875 h 1234994"/>
              <a:gd name="connsiteX106" fmla="*/ 323850 w 2005279"/>
              <a:gd name="connsiteY106" fmla="*/ 900112 h 1234994"/>
              <a:gd name="connsiteX107" fmla="*/ 309562 w 2005279"/>
              <a:gd name="connsiteY107" fmla="*/ 890587 h 1234994"/>
              <a:gd name="connsiteX108" fmla="*/ 300037 w 2005279"/>
              <a:gd name="connsiteY108" fmla="*/ 814387 h 1234994"/>
              <a:gd name="connsiteX109" fmla="*/ 295275 w 2005279"/>
              <a:gd name="connsiteY109" fmla="*/ 800100 h 1234994"/>
              <a:gd name="connsiteX110" fmla="*/ 233362 w 2005279"/>
              <a:gd name="connsiteY110" fmla="*/ 766762 h 1234994"/>
              <a:gd name="connsiteX111" fmla="*/ 219075 w 2005279"/>
              <a:gd name="connsiteY111" fmla="*/ 762000 h 1234994"/>
              <a:gd name="connsiteX112" fmla="*/ 195262 w 2005279"/>
              <a:gd name="connsiteY112" fmla="*/ 766762 h 1234994"/>
              <a:gd name="connsiteX113" fmla="*/ 176212 w 2005279"/>
              <a:gd name="connsiteY113" fmla="*/ 771525 h 1234994"/>
              <a:gd name="connsiteX114" fmla="*/ 119062 w 2005279"/>
              <a:gd name="connsiteY114" fmla="*/ 757237 h 1234994"/>
              <a:gd name="connsiteX115" fmla="*/ 80962 w 2005279"/>
              <a:gd name="connsiteY115" fmla="*/ 752475 h 1234994"/>
              <a:gd name="connsiteX116" fmla="*/ 47625 w 2005279"/>
              <a:gd name="connsiteY116" fmla="*/ 742950 h 1234994"/>
              <a:gd name="connsiteX117" fmla="*/ 19050 w 2005279"/>
              <a:gd name="connsiteY117" fmla="*/ 723900 h 1234994"/>
              <a:gd name="connsiteX118" fmla="*/ 4762 w 2005279"/>
              <a:gd name="connsiteY118" fmla="*/ 714375 h 1234994"/>
              <a:gd name="connsiteX119" fmla="*/ 0 w 2005279"/>
              <a:gd name="connsiteY119" fmla="*/ 700087 h 1234994"/>
              <a:gd name="connsiteX120" fmla="*/ 23812 w 2005279"/>
              <a:gd name="connsiteY120" fmla="*/ 642937 h 1234994"/>
              <a:gd name="connsiteX121" fmla="*/ 52387 w 2005279"/>
              <a:gd name="connsiteY121" fmla="*/ 633412 h 1234994"/>
              <a:gd name="connsiteX122" fmla="*/ 66675 w 2005279"/>
              <a:gd name="connsiteY122" fmla="*/ 628650 h 1234994"/>
              <a:gd name="connsiteX123" fmla="*/ 80962 w 2005279"/>
              <a:gd name="connsiteY123" fmla="*/ 619125 h 1234994"/>
              <a:gd name="connsiteX124" fmla="*/ 95250 w 2005279"/>
              <a:gd name="connsiteY124" fmla="*/ 614362 h 1234994"/>
              <a:gd name="connsiteX125" fmla="*/ 104775 w 2005279"/>
              <a:gd name="connsiteY125" fmla="*/ 600075 h 1234994"/>
              <a:gd name="connsiteX126" fmla="*/ 119062 w 2005279"/>
              <a:gd name="connsiteY126" fmla="*/ 590550 h 1234994"/>
              <a:gd name="connsiteX127" fmla="*/ 138112 w 2005279"/>
              <a:gd name="connsiteY127" fmla="*/ 533400 h 1234994"/>
              <a:gd name="connsiteX128" fmla="*/ 142875 w 2005279"/>
              <a:gd name="connsiteY128" fmla="*/ 519112 h 1234994"/>
              <a:gd name="connsiteX129" fmla="*/ 195262 w 2005279"/>
              <a:gd name="connsiteY129" fmla="*/ 509587 h 1234994"/>
              <a:gd name="connsiteX130" fmla="*/ 209550 w 2005279"/>
              <a:gd name="connsiteY130" fmla="*/ 504825 h 1234994"/>
              <a:gd name="connsiteX131" fmla="*/ 285750 w 2005279"/>
              <a:gd name="connsiteY131" fmla="*/ 509587 h 1234994"/>
              <a:gd name="connsiteX132" fmla="*/ 300037 w 2005279"/>
              <a:gd name="connsiteY132" fmla="*/ 519112 h 1234994"/>
              <a:gd name="connsiteX133" fmla="*/ 314325 w 2005279"/>
              <a:gd name="connsiteY133" fmla="*/ 523875 h 1234994"/>
              <a:gd name="connsiteX134" fmla="*/ 357187 w 2005279"/>
              <a:gd name="connsiteY134" fmla="*/ 547687 h 1234994"/>
              <a:gd name="connsiteX135" fmla="*/ 361950 w 2005279"/>
              <a:gd name="connsiteY135" fmla="*/ 561975 h 1234994"/>
              <a:gd name="connsiteX136" fmla="*/ 385762 w 2005279"/>
              <a:gd name="connsiteY136" fmla="*/ 590550 h 1234994"/>
              <a:gd name="connsiteX137" fmla="*/ 400050 w 2005279"/>
              <a:gd name="connsiteY137" fmla="*/ 619125 h 1234994"/>
              <a:gd name="connsiteX138" fmla="*/ 404812 w 2005279"/>
              <a:gd name="connsiteY138" fmla="*/ 633412 h 1234994"/>
              <a:gd name="connsiteX139" fmla="*/ 419100 w 2005279"/>
              <a:gd name="connsiteY139" fmla="*/ 642937 h 1234994"/>
              <a:gd name="connsiteX140" fmla="*/ 452437 w 2005279"/>
              <a:gd name="connsiteY140" fmla="*/ 652462 h 1234994"/>
              <a:gd name="connsiteX141" fmla="*/ 466725 w 2005279"/>
              <a:gd name="connsiteY141" fmla="*/ 657225 h 1234994"/>
              <a:gd name="connsiteX142" fmla="*/ 533400 w 2005279"/>
              <a:gd name="connsiteY142" fmla="*/ 638175 h 1234994"/>
              <a:gd name="connsiteX143" fmla="*/ 523875 w 2005279"/>
              <a:gd name="connsiteY143" fmla="*/ 623887 h 1234994"/>
              <a:gd name="connsiteX144" fmla="*/ 528637 w 2005279"/>
              <a:gd name="connsiteY144" fmla="*/ 609600 h 1234994"/>
              <a:gd name="connsiteX145" fmla="*/ 542925 w 2005279"/>
              <a:gd name="connsiteY145" fmla="*/ 604837 h 1234994"/>
              <a:gd name="connsiteX146" fmla="*/ 571500 w 2005279"/>
              <a:gd name="connsiteY146" fmla="*/ 590550 h 1234994"/>
              <a:gd name="connsiteX147" fmla="*/ 576262 w 2005279"/>
              <a:gd name="connsiteY147" fmla="*/ 628650 h 1234994"/>
              <a:gd name="connsiteX148" fmla="*/ 590550 w 2005279"/>
              <a:gd name="connsiteY148" fmla="*/ 633412 h 1234994"/>
              <a:gd name="connsiteX149" fmla="*/ 604837 w 2005279"/>
              <a:gd name="connsiteY149" fmla="*/ 642937 h 1234994"/>
              <a:gd name="connsiteX150" fmla="*/ 633412 w 2005279"/>
              <a:gd name="connsiteY150" fmla="*/ 652462 h 1234994"/>
              <a:gd name="connsiteX151" fmla="*/ 685800 w 2005279"/>
              <a:gd name="connsiteY151" fmla="*/ 647700 h 1234994"/>
              <a:gd name="connsiteX152" fmla="*/ 714375 w 2005279"/>
              <a:gd name="connsiteY152" fmla="*/ 638175 h 1234994"/>
              <a:gd name="connsiteX153" fmla="*/ 733425 w 2005279"/>
              <a:gd name="connsiteY153" fmla="*/ 633412 h 1234994"/>
              <a:gd name="connsiteX154" fmla="*/ 762000 w 2005279"/>
              <a:gd name="connsiteY154" fmla="*/ 623887 h 1234994"/>
              <a:gd name="connsiteX155" fmla="*/ 809625 w 2005279"/>
              <a:gd name="connsiteY155" fmla="*/ 609600 h 1234994"/>
              <a:gd name="connsiteX156" fmla="*/ 823912 w 2005279"/>
              <a:gd name="connsiteY156" fmla="*/ 604837 h 1234994"/>
              <a:gd name="connsiteX157" fmla="*/ 838200 w 2005279"/>
              <a:gd name="connsiteY157" fmla="*/ 600075 h 1234994"/>
              <a:gd name="connsiteX158" fmla="*/ 857250 w 2005279"/>
              <a:gd name="connsiteY158" fmla="*/ 576262 h 1234994"/>
              <a:gd name="connsiteX159" fmla="*/ 842962 w 2005279"/>
              <a:gd name="connsiteY159" fmla="*/ 571500 h 1234994"/>
              <a:gd name="connsiteX160" fmla="*/ 833437 w 2005279"/>
              <a:gd name="connsiteY160" fmla="*/ 557212 h 1234994"/>
              <a:gd name="connsiteX161" fmla="*/ 842962 w 2005279"/>
              <a:gd name="connsiteY161" fmla="*/ 495300 h 1234994"/>
              <a:gd name="connsiteX162" fmla="*/ 838200 w 2005279"/>
              <a:gd name="connsiteY162" fmla="*/ 471487 h 1234994"/>
              <a:gd name="connsiteX163" fmla="*/ 823912 w 2005279"/>
              <a:gd name="connsiteY163" fmla="*/ 461962 h 1234994"/>
              <a:gd name="connsiteX164" fmla="*/ 828675 w 2005279"/>
              <a:gd name="connsiteY164" fmla="*/ 433387 h 1234994"/>
              <a:gd name="connsiteX165" fmla="*/ 842962 w 2005279"/>
              <a:gd name="connsiteY165" fmla="*/ 404812 h 1234994"/>
              <a:gd name="connsiteX166" fmla="*/ 838200 w 2005279"/>
              <a:gd name="connsiteY166" fmla="*/ 381000 h 1234994"/>
              <a:gd name="connsiteX167" fmla="*/ 823912 w 2005279"/>
              <a:gd name="connsiteY167" fmla="*/ 376237 h 1234994"/>
              <a:gd name="connsiteX168" fmla="*/ 795337 w 2005279"/>
              <a:gd name="connsiteY168" fmla="*/ 361950 h 1234994"/>
              <a:gd name="connsiteX169" fmla="*/ 781050 w 2005279"/>
              <a:gd name="connsiteY169" fmla="*/ 347662 h 1234994"/>
              <a:gd name="connsiteX170" fmla="*/ 781050 w 2005279"/>
              <a:gd name="connsiteY170" fmla="*/ 300037 h 1234994"/>
              <a:gd name="connsiteX171" fmla="*/ 800100 w 2005279"/>
              <a:gd name="connsiteY171" fmla="*/ 290512 h 1234994"/>
              <a:gd name="connsiteX172" fmla="*/ 852487 w 2005279"/>
              <a:gd name="connsiteY172" fmla="*/ 271462 h 1234994"/>
              <a:gd name="connsiteX173" fmla="*/ 871537 w 2005279"/>
              <a:gd name="connsiteY173" fmla="*/ 261937 h 1234994"/>
              <a:gd name="connsiteX174" fmla="*/ 885825 w 2005279"/>
              <a:gd name="connsiteY174" fmla="*/ 257175 h 1234994"/>
              <a:gd name="connsiteX175" fmla="*/ 900112 w 2005279"/>
              <a:gd name="connsiteY175" fmla="*/ 242887 h 1234994"/>
              <a:gd name="connsiteX176" fmla="*/ 914400 w 2005279"/>
              <a:gd name="connsiteY176" fmla="*/ 190500 h 1234994"/>
              <a:gd name="connsiteX177" fmla="*/ 909637 w 2005279"/>
              <a:gd name="connsiteY177" fmla="*/ 176212 h 1234994"/>
              <a:gd name="connsiteX178" fmla="*/ 881062 w 2005279"/>
              <a:gd name="connsiteY178" fmla="*/ 161925 h 1234994"/>
              <a:gd name="connsiteX179" fmla="*/ 885825 w 2005279"/>
              <a:gd name="connsiteY179" fmla="*/ 128587 h 1234994"/>
              <a:gd name="connsiteX180" fmla="*/ 895350 w 2005279"/>
              <a:gd name="connsiteY180" fmla="*/ 114300 h 1234994"/>
              <a:gd name="connsiteX181" fmla="*/ 900112 w 2005279"/>
              <a:gd name="connsiteY181" fmla="*/ 100012 h 1234994"/>
              <a:gd name="connsiteX182" fmla="*/ 914400 w 2005279"/>
              <a:gd name="connsiteY182" fmla="*/ 80962 h 1234994"/>
              <a:gd name="connsiteX183" fmla="*/ 923925 w 2005279"/>
              <a:gd name="connsiteY183" fmla="*/ 66675 h 1234994"/>
              <a:gd name="connsiteX184" fmla="*/ 933450 w 2005279"/>
              <a:gd name="connsiteY184" fmla="*/ 38100 h 1234994"/>
              <a:gd name="connsiteX185" fmla="*/ 947737 w 2005279"/>
              <a:gd name="connsiteY185" fmla="*/ 28575 h 1234994"/>
              <a:gd name="connsiteX186" fmla="*/ 1023937 w 2005279"/>
              <a:gd name="connsiteY186" fmla="*/ 14287 h 1234994"/>
              <a:gd name="connsiteX187" fmla="*/ 1052512 w 2005279"/>
              <a:gd name="connsiteY187" fmla="*/ 4762 h 1234994"/>
              <a:gd name="connsiteX188" fmla="*/ 1066800 w 2005279"/>
              <a:gd name="connsiteY188" fmla="*/ 0 h 1234994"/>
              <a:gd name="connsiteX189" fmla="*/ 1081087 w 2005279"/>
              <a:gd name="connsiteY189" fmla="*/ 14287 h 1234994"/>
              <a:gd name="connsiteX190" fmla="*/ 1090612 w 2005279"/>
              <a:gd name="connsiteY190" fmla="*/ 28575 h 1234994"/>
              <a:gd name="connsiteX191" fmla="*/ 1119187 w 2005279"/>
              <a:gd name="connsiteY191" fmla="*/ 47625 h 1234994"/>
              <a:gd name="connsiteX192" fmla="*/ 1214437 w 2005279"/>
              <a:gd name="connsiteY192" fmla="*/ 52387 h 1234994"/>
              <a:gd name="connsiteX193" fmla="*/ 1243012 w 2005279"/>
              <a:gd name="connsiteY193" fmla="*/ 61912 h 1234994"/>
              <a:gd name="connsiteX194" fmla="*/ 1247775 w 2005279"/>
              <a:gd name="connsiteY194" fmla="*/ 76200 h 1234994"/>
              <a:gd name="connsiteX195" fmla="*/ 1266825 w 2005279"/>
              <a:gd name="connsiteY195" fmla="*/ 104775 h 1234994"/>
              <a:gd name="connsiteX196" fmla="*/ 1285875 w 2005279"/>
              <a:gd name="connsiteY196" fmla="*/ 133350 h 1234994"/>
              <a:gd name="connsiteX197" fmla="*/ 1295400 w 2005279"/>
              <a:gd name="connsiteY197" fmla="*/ 147637 h 1234994"/>
              <a:gd name="connsiteX198" fmla="*/ 1309687 w 2005279"/>
              <a:gd name="connsiteY198" fmla="*/ 161925 h 1234994"/>
              <a:gd name="connsiteX199" fmla="*/ 1338262 w 2005279"/>
              <a:gd name="connsiteY199" fmla="*/ 219075 h 1234994"/>
              <a:gd name="connsiteX200" fmla="*/ 1352550 w 2005279"/>
              <a:gd name="connsiteY200" fmla="*/ 228600 h 1234994"/>
              <a:gd name="connsiteX201" fmla="*/ 1385887 w 2005279"/>
              <a:gd name="connsiteY201" fmla="*/ 261937 h 1234994"/>
              <a:gd name="connsiteX202" fmla="*/ 1414462 w 2005279"/>
              <a:gd name="connsiteY202" fmla="*/ 280987 h 1234994"/>
              <a:gd name="connsiteX203" fmla="*/ 1428750 w 2005279"/>
              <a:gd name="connsiteY203" fmla="*/ 295275 h 1234994"/>
              <a:gd name="connsiteX204" fmla="*/ 1457325 w 2005279"/>
              <a:gd name="connsiteY204" fmla="*/ 304800 h 1234994"/>
              <a:gd name="connsiteX205" fmla="*/ 1476375 w 2005279"/>
              <a:gd name="connsiteY205" fmla="*/ 328612 h 1234994"/>
              <a:gd name="connsiteX206" fmla="*/ 1485900 w 2005279"/>
              <a:gd name="connsiteY206" fmla="*/ 347662 h 1234994"/>
              <a:gd name="connsiteX207" fmla="*/ 1495425 w 2005279"/>
              <a:gd name="connsiteY207" fmla="*/ 361950 h 1234994"/>
              <a:gd name="connsiteX208" fmla="*/ 1500187 w 2005279"/>
              <a:gd name="connsiteY208" fmla="*/ 376237 h 1234994"/>
              <a:gd name="connsiteX209" fmla="*/ 1514475 w 2005279"/>
              <a:gd name="connsiteY209" fmla="*/ 390525 h 1234994"/>
              <a:gd name="connsiteX210" fmla="*/ 1595437 w 2005279"/>
              <a:gd name="connsiteY210" fmla="*/ 404812 h 1234994"/>
              <a:gd name="connsiteX211" fmla="*/ 1624012 w 2005279"/>
              <a:gd name="connsiteY211" fmla="*/ 423862 h 1234994"/>
              <a:gd name="connsiteX212" fmla="*/ 1628775 w 2005279"/>
              <a:gd name="connsiteY212" fmla="*/ 466725 h 1234994"/>
              <a:gd name="connsiteX213" fmla="*/ 1643062 w 2005279"/>
              <a:gd name="connsiteY213" fmla="*/ 471487 h 1234994"/>
              <a:gd name="connsiteX214" fmla="*/ 1671637 w 2005279"/>
              <a:gd name="connsiteY214" fmla="*/ 490537 h 1234994"/>
              <a:gd name="connsiteX215" fmla="*/ 1719262 w 2005279"/>
              <a:gd name="connsiteY215" fmla="*/ 500062 h 1234994"/>
              <a:gd name="connsiteX216" fmla="*/ 1747837 w 2005279"/>
              <a:gd name="connsiteY216" fmla="*/ 509587 h 1234994"/>
              <a:gd name="connsiteX217" fmla="*/ 1776412 w 2005279"/>
              <a:gd name="connsiteY217" fmla="*/ 528637 h 1234994"/>
              <a:gd name="connsiteX218" fmla="*/ 1804987 w 2005279"/>
              <a:gd name="connsiteY218" fmla="*/ 538162 h 1234994"/>
              <a:gd name="connsiteX219" fmla="*/ 1862137 w 2005279"/>
              <a:gd name="connsiteY219" fmla="*/ 542925 h 1234994"/>
              <a:gd name="connsiteX220" fmla="*/ 1890712 w 2005279"/>
              <a:gd name="connsiteY220" fmla="*/ 547687 h 1234994"/>
              <a:gd name="connsiteX221" fmla="*/ 1924050 w 2005279"/>
              <a:gd name="connsiteY221" fmla="*/ 557212 h 1234994"/>
              <a:gd name="connsiteX222" fmla="*/ 1938337 w 2005279"/>
              <a:gd name="connsiteY222" fmla="*/ 561975 h 1234994"/>
              <a:gd name="connsiteX223" fmla="*/ 1928812 w 2005279"/>
              <a:gd name="connsiteY223" fmla="*/ 561975 h 1234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2005279" h="1234994">
                <a:moveTo>
                  <a:pt x="1928812" y="561975"/>
                </a:moveTo>
                <a:cubicBezTo>
                  <a:pt x="1931193" y="562769"/>
                  <a:pt x="1945890" y="562247"/>
                  <a:pt x="1952625" y="566737"/>
                </a:cubicBezTo>
                <a:cubicBezTo>
                  <a:pt x="1956802" y="569522"/>
                  <a:pt x="1957387" y="576005"/>
                  <a:pt x="1957387" y="581025"/>
                </a:cubicBezTo>
                <a:cubicBezTo>
                  <a:pt x="1957387" y="596403"/>
                  <a:pt x="1950878" y="602696"/>
                  <a:pt x="1943100" y="614362"/>
                </a:cubicBezTo>
                <a:cubicBezTo>
                  <a:pt x="1941512" y="631825"/>
                  <a:pt x="1940817" y="649392"/>
                  <a:pt x="1938337" y="666750"/>
                </a:cubicBezTo>
                <a:cubicBezTo>
                  <a:pt x="1937627" y="671719"/>
                  <a:pt x="1933575" y="676017"/>
                  <a:pt x="1933575" y="681037"/>
                </a:cubicBezTo>
                <a:cubicBezTo>
                  <a:pt x="1933575" y="701736"/>
                  <a:pt x="1934523" y="722606"/>
                  <a:pt x="1938337" y="742950"/>
                </a:cubicBezTo>
                <a:cubicBezTo>
                  <a:pt x="1939392" y="748576"/>
                  <a:pt x="1943008" y="754204"/>
                  <a:pt x="1947862" y="757237"/>
                </a:cubicBezTo>
                <a:cubicBezTo>
                  <a:pt x="1956376" y="762558"/>
                  <a:pt x="1976437" y="766762"/>
                  <a:pt x="1976437" y="766762"/>
                </a:cubicBezTo>
                <a:cubicBezTo>
                  <a:pt x="1979612" y="771525"/>
                  <a:pt x="1983637" y="775819"/>
                  <a:pt x="1985962" y="781050"/>
                </a:cubicBezTo>
                <a:cubicBezTo>
                  <a:pt x="1990040" y="790225"/>
                  <a:pt x="1995487" y="809625"/>
                  <a:pt x="1995487" y="809625"/>
                </a:cubicBezTo>
                <a:cubicBezTo>
                  <a:pt x="1993900" y="820737"/>
                  <a:pt x="1994755" y="832485"/>
                  <a:pt x="1990725" y="842962"/>
                </a:cubicBezTo>
                <a:cubicBezTo>
                  <a:pt x="1986616" y="853647"/>
                  <a:pt x="1971675" y="871537"/>
                  <a:pt x="1971675" y="871537"/>
                </a:cubicBezTo>
                <a:cubicBezTo>
                  <a:pt x="1973262" y="877887"/>
                  <a:pt x="1972348" y="885476"/>
                  <a:pt x="1976437" y="890587"/>
                </a:cubicBezTo>
                <a:cubicBezTo>
                  <a:pt x="1979573" y="894507"/>
                  <a:pt x="1986805" y="892214"/>
                  <a:pt x="1990725" y="895350"/>
                </a:cubicBezTo>
                <a:cubicBezTo>
                  <a:pt x="1995194" y="898926"/>
                  <a:pt x="1997075" y="904875"/>
                  <a:pt x="2000250" y="909637"/>
                </a:cubicBezTo>
                <a:cubicBezTo>
                  <a:pt x="2003424" y="919161"/>
                  <a:pt x="2009774" y="928688"/>
                  <a:pt x="2000250" y="938212"/>
                </a:cubicBezTo>
                <a:cubicBezTo>
                  <a:pt x="1996700" y="941762"/>
                  <a:pt x="1990725" y="941387"/>
                  <a:pt x="1985962" y="942975"/>
                </a:cubicBezTo>
                <a:cubicBezTo>
                  <a:pt x="1971675" y="941387"/>
                  <a:pt x="1957280" y="940575"/>
                  <a:pt x="1943100" y="938212"/>
                </a:cubicBezTo>
                <a:cubicBezTo>
                  <a:pt x="1938148" y="937387"/>
                  <a:pt x="1932362" y="929900"/>
                  <a:pt x="1928812" y="933450"/>
                </a:cubicBezTo>
                <a:cubicBezTo>
                  <a:pt x="1925262" y="937000"/>
                  <a:pt x="1932357" y="942867"/>
                  <a:pt x="1933575" y="947737"/>
                </a:cubicBezTo>
                <a:cubicBezTo>
                  <a:pt x="1935538" y="955590"/>
                  <a:pt x="1936581" y="963648"/>
                  <a:pt x="1938337" y="971550"/>
                </a:cubicBezTo>
                <a:cubicBezTo>
                  <a:pt x="1942322" y="989483"/>
                  <a:pt x="1942561" y="988982"/>
                  <a:pt x="1947862" y="1004887"/>
                </a:cubicBezTo>
                <a:cubicBezTo>
                  <a:pt x="1944912" y="1028490"/>
                  <a:pt x="1950757" y="1045083"/>
                  <a:pt x="1928812" y="1057275"/>
                </a:cubicBezTo>
                <a:cubicBezTo>
                  <a:pt x="1920035" y="1062151"/>
                  <a:pt x="1900237" y="1066800"/>
                  <a:pt x="1900237" y="1066800"/>
                </a:cubicBezTo>
                <a:cubicBezTo>
                  <a:pt x="1895475" y="1065212"/>
                  <a:pt x="1890440" y="1064282"/>
                  <a:pt x="1885950" y="1062037"/>
                </a:cubicBezTo>
                <a:cubicBezTo>
                  <a:pt x="1880830" y="1059477"/>
                  <a:pt x="1876923" y="1054767"/>
                  <a:pt x="1871662" y="1052512"/>
                </a:cubicBezTo>
                <a:cubicBezTo>
                  <a:pt x="1865646" y="1049934"/>
                  <a:pt x="1858962" y="1049337"/>
                  <a:pt x="1852612" y="1047750"/>
                </a:cubicBezTo>
                <a:cubicBezTo>
                  <a:pt x="1844675" y="1049337"/>
                  <a:pt x="1836653" y="1050549"/>
                  <a:pt x="1828800" y="1052512"/>
                </a:cubicBezTo>
                <a:cubicBezTo>
                  <a:pt x="1823930" y="1053730"/>
                  <a:pt x="1819413" y="1056186"/>
                  <a:pt x="1814512" y="1057275"/>
                </a:cubicBezTo>
                <a:cubicBezTo>
                  <a:pt x="1805086" y="1059370"/>
                  <a:pt x="1795462" y="1060450"/>
                  <a:pt x="1785937" y="1062037"/>
                </a:cubicBezTo>
                <a:cubicBezTo>
                  <a:pt x="1752609" y="1112031"/>
                  <a:pt x="1798091" y="1036170"/>
                  <a:pt x="1781175" y="1095375"/>
                </a:cubicBezTo>
                <a:cubicBezTo>
                  <a:pt x="1777420" y="1108517"/>
                  <a:pt x="1762780" y="1111031"/>
                  <a:pt x="1752600" y="1114425"/>
                </a:cubicBezTo>
                <a:cubicBezTo>
                  <a:pt x="1749425" y="1109662"/>
                  <a:pt x="1744720" y="1105620"/>
                  <a:pt x="1743075" y="1100137"/>
                </a:cubicBezTo>
                <a:cubicBezTo>
                  <a:pt x="1739849" y="1089385"/>
                  <a:pt x="1745498" y="1075423"/>
                  <a:pt x="1738312" y="1066800"/>
                </a:cubicBezTo>
                <a:cubicBezTo>
                  <a:pt x="1734122" y="1061772"/>
                  <a:pt x="1725612" y="1069975"/>
                  <a:pt x="1719262" y="1071562"/>
                </a:cubicBezTo>
                <a:cubicBezTo>
                  <a:pt x="1717675" y="1076325"/>
                  <a:pt x="1715879" y="1081023"/>
                  <a:pt x="1714500" y="1085850"/>
                </a:cubicBezTo>
                <a:cubicBezTo>
                  <a:pt x="1712702" y="1092144"/>
                  <a:pt x="1713927" y="1099872"/>
                  <a:pt x="1709737" y="1104900"/>
                </a:cubicBezTo>
                <a:cubicBezTo>
                  <a:pt x="1705192" y="1110354"/>
                  <a:pt x="1697037" y="1111250"/>
                  <a:pt x="1690687" y="1114425"/>
                </a:cubicBezTo>
                <a:cubicBezTo>
                  <a:pt x="1692275" y="1109662"/>
                  <a:pt x="1695450" y="1105157"/>
                  <a:pt x="1695450" y="1100137"/>
                </a:cubicBezTo>
                <a:cubicBezTo>
                  <a:pt x="1695450" y="1065344"/>
                  <a:pt x="1649063" y="1089052"/>
                  <a:pt x="1628775" y="1090612"/>
                </a:cubicBezTo>
                <a:cubicBezTo>
                  <a:pt x="1594754" y="1113293"/>
                  <a:pt x="1611306" y="1106885"/>
                  <a:pt x="1581150" y="1114425"/>
                </a:cubicBezTo>
                <a:cubicBezTo>
                  <a:pt x="1558925" y="1081087"/>
                  <a:pt x="1571625" y="1092200"/>
                  <a:pt x="1547812" y="1076325"/>
                </a:cubicBezTo>
                <a:cubicBezTo>
                  <a:pt x="1538287" y="1082675"/>
                  <a:pt x="1522857" y="1084515"/>
                  <a:pt x="1519237" y="1095375"/>
                </a:cubicBezTo>
                <a:cubicBezTo>
                  <a:pt x="1512888" y="1114425"/>
                  <a:pt x="1519237" y="1108074"/>
                  <a:pt x="1500187" y="1114425"/>
                </a:cubicBezTo>
                <a:cubicBezTo>
                  <a:pt x="1489216" y="1112596"/>
                  <a:pt x="1469047" y="1110761"/>
                  <a:pt x="1457325" y="1104900"/>
                </a:cubicBezTo>
                <a:cubicBezTo>
                  <a:pt x="1452205" y="1102340"/>
                  <a:pt x="1447800" y="1098550"/>
                  <a:pt x="1443037" y="1095375"/>
                </a:cubicBezTo>
                <a:cubicBezTo>
                  <a:pt x="1431702" y="1129380"/>
                  <a:pt x="1441866" y="1118381"/>
                  <a:pt x="1419225" y="1133475"/>
                </a:cubicBezTo>
                <a:cubicBezTo>
                  <a:pt x="1411287" y="1157287"/>
                  <a:pt x="1419225" y="1146174"/>
                  <a:pt x="1385887" y="1157287"/>
                </a:cubicBezTo>
                <a:lnTo>
                  <a:pt x="1371600" y="1162050"/>
                </a:lnTo>
                <a:cubicBezTo>
                  <a:pt x="1365250" y="1160462"/>
                  <a:pt x="1357996" y="1160918"/>
                  <a:pt x="1352550" y="1157287"/>
                </a:cubicBezTo>
                <a:cubicBezTo>
                  <a:pt x="1342846" y="1150818"/>
                  <a:pt x="1335379" y="1120062"/>
                  <a:pt x="1333500" y="1114425"/>
                </a:cubicBezTo>
                <a:cubicBezTo>
                  <a:pt x="1331370" y="1108035"/>
                  <a:pt x="1323975" y="1104900"/>
                  <a:pt x="1319212" y="1100137"/>
                </a:cubicBezTo>
                <a:cubicBezTo>
                  <a:pt x="1315903" y="1090211"/>
                  <a:pt x="1311464" y="1074647"/>
                  <a:pt x="1304925" y="1066800"/>
                </a:cubicBezTo>
                <a:cubicBezTo>
                  <a:pt x="1301261" y="1062403"/>
                  <a:pt x="1295400" y="1060450"/>
                  <a:pt x="1290637" y="1057275"/>
                </a:cubicBezTo>
                <a:cubicBezTo>
                  <a:pt x="1281112" y="1058862"/>
                  <a:pt x="1269602" y="1056005"/>
                  <a:pt x="1262062" y="1062037"/>
                </a:cubicBezTo>
                <a:cubicBezTo>
                  <a:pt x="1258142" y="1065173"/>
                  <a:pt x="1263275" y="1072775"/>
                  <a:pt x="1266825" y="1076325"/>
                </a:cubicBezTo>
                <a:cubicBezTo>
                  <a:pt x="1270375" y="1079875"/>
                  <a:pt x="1276350" y="1079500"/>
                  <a:pt x="1281112" y="1081087"/>
                </a:cubicBezTo>
                <a:cubicBezTo>
                  <a:pt x="1269945" y="1114592"/>
                  <a:pt x="1286723" y="1075478"/>
                  <a:pt x="1257300" y="1104900"/>
                </a:cubicBezTo>
                <a:cubicBezTo>
                  <a:pt x="1253750" y="1108450"/>
                  <a:pt x="1256087" y="1115637"/>
                  <a:pt x="1252537" y="1119187"/>
                </a:cubicBezTo>
                <a:cubicBezTo>
                  <a:pt x="1234071" y="1137652"/>
                  <a:pt x="1218629" y="1140014"/>
                  <a:pt x="1195387" y="1147762"/>
                </a:cubicBezTo>
                <a:lnTo>
                  <a:pt x="1166812" y="1157287"/>
                </a:lnTo>
                <a:cubicBezTo>
                  <a:pt x="1150177" y="1162831"/>
                  <a:pt x="1131887" y="1160462"/>
                  <a:pt x="1114425" y="1162050"/>
                </a:cubicBezTo>
                <a:cubicBezTo>
                  <a:pt x="1095375" y="1160462"/>
                  <a:pt x="1076223" y="1159813"/>
                  <a:pt x="1057275" y="1157287"/>
                </a:cubicBezTo>
                <a:cubicBezTo>
                  <a:pt x="1040948" y="1155110"/>
                  <a:pt x="1043298" y="1150299"/>
                  <a:pt x="1028700" y="1143000"/>
                </a:cubicBezTo>
                <a:cubicBezTo>
                  <a:pt x="1024210" y="1140755"/>
                  <a:pt x="1019175" y="1139825"/>
                  <a:pt x="1014412" y="1138237"/>
                </a:cubicBezTo>
                <a:cubicBezTo>
                  <a:pt x="996950" y="1139825"/>
                  <a:pt x="979293" y="1139953"/>
                  <a:pt x="962025" y="1143000"/>
                </a:cubicBezTo>
                <a:cubicBezTo>
                  <a:pt x="952138" y="1144745"/>
                  <a:pt x="942975" y="1149350"/>
                  <a:pt x="933450" y="1152525"/>
                </a:cubicBezTo>
                <a:lnTo>
                  <a:pt x="919162" y="1157287"/>
                </a:lnTo>
                <a:cubicBezTo>
                  <a:pt x="915987" y="1162050"/>
                  <a:pt x="913684" y="1167527"/>
                  <a:pt x="909637" y="1171575"/>
                </a:cubicBezTo>
                <a:cubicBezTo>
                  <a:pt x="900404" y="1180808"/>
                  <a:pt x="892683" y="1181989"/>
                  <a:pt x="881062" y="1185862"/>
                </a:cubicBezTo>
                <a:cubicBezTo>
                  <a:pt x="858421" y="1200957"/>
                  <a:pt x="872206" y="1193576"/>
                  <a:pt x="838200" y="1204912"/>
                </a:cubicBezTo>
                <a:lnTo>
                  <a:pt x="823912" y="1209675"/>
                </a:lnTo>
                <a:cubicBezTo>
                  <a:pt x="820737" y="1217612"/>
                  <a:pt x="818210" y="1241133"/>
                  <a:pt x="814387" y="1233487"/>
                </a:cubicBezTo>
                <a:cubicBezTo>
                  <a:pt x="809367" y="1223447"/>
                  <a:pt x="816626" y="1211088"/>
                  <a:pt x="819150" y="1200150"/>
                </a:cubicBezTo>
                <a:cubicBezTo>
                  <a:pt x="821408" y="1190367"/>
                  <a:pt x="828675" y="1171575"/>
                  <a:pt x="828675" y="1171575"/>
                </a:cubicBezTo>
                <a:cubicBezTo>
                  <a:pt x="829859" y="1163289"/>
                  <a:pt x="838785" y="1130742"/>
                  <a:pt x="828675" y="1119187"/>
                </a:cubicBezTo>
                <a:cubicBezTo>
                  <a:pt x="821137" y="1110572"/>
                  <a:pt x="800100" y="1100137"/>
                  <a:pt x="800100" y="1100137"/>
                </a:cubicBezTo>
                <a:cubicBezTo>
                  <a:pt x="776287" y="1108075"/>
                  <a:pt x="787400" y="1100137"/>
                  <a:pt x="776287" y="1133475"/>
                </a:cubicBezTo>
                <a:cubicBezTo>
                  <a:pt x="774477" y="1138905"/>
                  <a:pt x="767230" y="1140675"/>
                  <a:pt x="762000" y="1143000"/>
                </a:cubicBezTo>
                <a:cubicBezTo>
                  <a:pt x="752825" y="1147078"/>
                  <a:pt x="733425" y="1152525"/>
                  <a:pt x="733425" y="1152525"/>
                </a:cubicBezTo>
                <a:cubicBezTo>
                  <a:pt x="728662" y="1157287"/>
                  <a:pt x="723449" y="1161638"/>
                  <a:pt x="719137" y="1166812"/>
                </a:cubicBezTo>
                <a:cubicBezTo>
                  <a:pt x="715473" y="1171209"/>
                  <a:pt x="713659" y="1177052"/>
                  <a:pt x="709612" y="1181100"/>
                </a:cubicBezTo>
                <a:cubicBezTo>
                  <a:pt x="705565" y="1185147"/>
                  <a:pt x="699603" y="1186822"/>
                  <a:pt x="695325" y="1190625"/>
                </a:cubicBezTo>
                <a:cubicBezTo>
                  <a:pt x="685257" y="1199574"/>
                  <a:pt x="666750" y="1219200"/>
                  <a:pt x="666750" y="1219200"/>
                </a:cubicBezTo>
                <a:cubicBezTo>
                  <a:pt x="650272" y="1213707"/>
                  <a:pt x="651553" y="1217383"/>
                  <a:pt x="642937" y="1200150"/>
                </a:cubicBezTo>
                <a:cubicBezTo>
                  <a:pt x="640692" y="1195660"/>
                  <a:pt x="642260" y="1188780"/>
                  <a:pt x="638175" y="1185862"/>
                </a:cubicBezTo>
                <a:cubicBezTo>
                  <a:pt x="626690" y="1177658"/>
                  <a:pt x="594257" y="1173780"/>
                  <a:pt x="581025" y="1171575"/>
                </a:cubicBezTo>
                <a:cubicBezTo>
                  <a:pt x="576262" y="1168400"/>
                  <a:pt x="569912" y="1166813"/>
                  <a:pt x="566737" y="1162050"/>
                </a:cubicBezTo>
                <a:cubicBezTo>
                  <a:pt x="563106" y="1156604"/>
                  <a:pt x="568421" y="1144138"/>
                  <a:pt x="561975" y="1143000"/>
                </a:cubicBezTo>
                <a:cubicBezTo>
                  <a:pt x="536913" y="1138577"/>
                  <a:pt x="511175" y="1146175"/>
                  <a:pt x="485775" y="1147762"/>
                </a:cubicBezTo>
                <a:cubicBezTo>
                  <a:pt x="456985" y="1154960"/>
                  <a:pt x="472935" y="1150455"/>
                  <a:pt x="438150" y="1162050"/>
                </a:cubicBezTo>
                <a:cubicBezTo>
                  <a:pt x="414006" y="1170098"/>
                  <a:pt x="387350" y="1165225"/>
                  <a:pt x="361950" y="1166812"/>
                </a:cubicBezTo>
                <a:cubicBezTo>
                  <a:pt x="328612" y="1177925"/>
                  <a:pt x="342900" y="1179512"/>
                  <a:pt x="319087" y="1171575"/>
                </a:cubicBezTo>
                <a:cubicBezTo>
                  <a:pt x="297252" y="1138823"/>
                  <a:pt x="303657" y="1153860"/>
                  <a:pt x="295275" y="1128712"/>
                </a:cubicBezTo>
                <a:cubicBezTo>
                  <a:pt x="306610" y="1094707"/>
                  <a:pt x="299231" y="1108491"/>
                  <a:pt x="314325" y="1085850"/>
                </a:cubicBezTo>
                <a:cubicBezTo>
                  <a:pt x="311150" y="1076325"/>
                  <a:pt x="310636" y="1065445"/>
                  <a:pt x="304800" y="1057275"/>
                </a:cubicBezTo>
                <a:cubicBezTo>
                  <a:pt x="301882" y="1053190"/>
                  <a:pt x="294432" y="1055648"/>
                  <a:pt x="290512" y="1052512"/>
                </a:cubicBezTo>
                <a:cubicBezTo>
                  <a:pt x="286043" y="1048936"/>
                  <a:pt x="284162" y="1042987"/>
                  <a:pt x="280987" y="1038225"/>
                </a:cubicBezTo>
                <a:cubicBezTo>
                  <a:pt x="282575" y="1027112"/>
                  <a:pt x="280730" y="1014927"/>
                  <a:pt x="285750" y="1004887"/>
                </a:cubicBezTo>
                <a:cubicBezTo>
                  <a:pt x="287995" y="1000397"/>
                  <a:pt x="295085" y="1000950"/>
                  <a:pt x="300037" y="1000125"/>
                </a:cubicBezTo>
                <a:cubicBezTo>
                  <a:pt x="314217" y="997762"/>
                  <a:pt x="328612" y="996950"/>
                  <a:pt x="342900" y="995362"/>
                </a:cubicBezTo>
                <a:cubicBezTo>
                  <a:pt x="347662" y="993775"/>
                  <a:pt x="356477" y="995569"/>
                  <a:pt x="357187" y="990600"/>
                </a:cubicBezTo>
                <a:cubicBezTo>
                  <a:pt x="358607" y="980661"/>
                  <a:pt x="350837" y="971550"/>
                  <a:pt x="347662" y="962025"/>
                </a:cubicBezTo>
                <a:cubicBezTo>
                  <a:pt x="345102" y="954346"/>
                  <a:pt x="344231" y="946197"/>
                  <a:pt x="342900" y="938212"/>
                </a:cubicBezTo>
                <a:cubicBezTo>
                  <a:pt x="341055" y="927140"/>
                  <a:pt x="343157" y="914915"/>
                  <a:pt x="338137" y="904875"/>
                </a:cubicBezTo>
                <a:cubicBezTo>
                  <a:pt x="335892" y="900385"/>
                  <a:pt x="328340" y="902357"/>
                  <a:pt x="323850" y="900112"/>
                </a:cubicBezTo>
                <a:cubicBezTo>
                  <a:pt x="318730" y="897552"/>
                  <a:pt x="314325" y="893762"/>
                  <a:pt x="309562" y="890587"/>
                </a:cubicBezTo>
                <a:cubicBezTo>
                  <a:pt x="297007" y="852918"/>
                  <a:pt x="310332" y="896747"/>
                  <a:pt x="300037" y="814387"/>
                </a:cubicBezTo>
                <a:cubicBezTo>
                  <a:pt x="299414" y="809406"/>
                  <a:pt x="298060" y="804277"/>
                  <a:pt x="295275" y="800100"/>
                </a:cubicBezTo>
                <a:cubicBezTo>
                  <a:pt x="281497" y="779434"/>
                  <a:pt x="255068" y="773997"/>
                  <a:pt x="233362" y="766762"/>
                </a:cubicBezTo>
                <a:lnTo>
                  <a:pt x="219075" y="762000"/>
                </a:lnTo>
                <a:cubicBezTo>
                  <a:pt x="211137" y="763587"/>
                  <a:pt x="203164" y="765006"/>
                  <a:pt x="195262" y="766762"/>
                </a:cubicBezTo>
                <a:cubicBezTo>
                  <a:pt x="188872" y="768182"/>
                  <a:pt x="182757" y="771525"/>
                  <a:pt x="176212" y="771525"/>
                </a:cubicBezTo>
                <a:cubicBezTo>
                  <a:pt x="128550" y="771525"/>
                  <a:pt x="166346" y="763147"/>
                  <a:pt x="119062" y="757237"/>
                </a:cubicBezTo>
                <a:lnTo>
                  <a:pt x="80962" y="752475"/>
                </a:lnTo>
                <a:cubicBezTo>
                  <a:pt x="76482" y="751355"/>
                  <a:pt x="53212" y="746054"/>
                  <a:pt x="47625" y="742950"/>
                </a:cubicBezTo>
                <a:cubicBezTo>
                  <a:pt x="37618" y="737391"/>
                  <a:pt x="28575" y="730250"/>
                  <a:pt x="19050" y="723900"/>
                </a:cubicBezTo>
                <a:lnTo>
                  <a:pt x="4762" y="714375"/>
                </a:lnTo>
                <a:cubicBezTo>
                  <a:pt x="3175" y="709612"/>
                  <a:pt x="0" y="705107"/>
                  <a:pt x="0" y="700087"/>
                </a:cubicBezTo>
                <a:cubicBezTo>
                  <a:pt x="0" y="670186"/>
                  <a:pt x="7282" y="667732"/>
                  <a:pt x="23812" y="642937"/>
                </a:cubicBezTo>
                <a:cubicBezTo>
                  <a:pt x="29381" y="634583"/>
                  <a:pt x="42862" y="636587"/>
                  <a:pt x="52387" y="633412"/>
                </a:cubicBezTo>
                <a:lnTo>
                  <a:pt x="66675" y="628650"/>
                </a:lnTo>
                <a:cubicBezTo>
                  <a:pt x="71437" y="625475"/>
                  <a:pt x="75843" y="621685"/>
                  <a:pt x="80962" y="619125"/>
                </a:cubicBezTo>
                <a:cubicBezTo>
                  <a:pt x="85452" y="616880"/>
                  <a:pt x="91330" y="617498"/>
                  <a:pt x="95250" y="614362"/>
                </a:cubicBezTo>
                <a:cubicBezTo>
                  <a:pt x="99719" y="610786"/>
                  <a:pt x="100728" y="604122"/>
                  <a:pt x="104775" y="600075"/>
                </a:cubicBezTo>
                <a:cubicBezTo>
                  <a:pt x="108822" y="596028"/>
                  <a:pt x="114300" y="593725"/>
                  <a:pt x="119062" y="590550"/>
                </a:cubicBezTo>
                <a:lnTo>
                  <a:pt x="138112" y="533400"/>
                </a:lnTo>
                <a:cubicBezTo>
                  <a:pt x="139700" y="528637"/>
                  <a:pt x="138112" y="520699"/>
                  <a:pt x="142875" y="519112"/>
                </a:cubicBezTo>
                <a:cubicBezTo>
                  <a:pt x="169304" y="510303"/>
                  <a:pt x="152181" y="514973"/>
                  <a:pt x="195262" y="509587"/>
                </a:cubicBezTo>
                <a:cubicBezTo>
                  <a:pt x="200025" y="508000"/>
                  <a:pt x="204530" y="504825"/>
                  <a:pt x="209550" y="504825"/>
                </a:cubicBezTo>
                <a:cubicBezTo>
                  <a:pt x="235000" y="504825"/>
                  <a:pt x="260612" y="505618"/>
                  <a:pt x="285750" y="509587"/>
                </a:cubicBezTo>
                <a:cubicBezTo>
                  <a:pt x="291404" y="510480"/>
                  <a:pt x="294918" y="516552"/>
                  <a:pt x="300037" y="519112"/>
                </a:cubicBezTo>
                <a:cubicBezTo>
                  <a:pt x="304527" y="521357"/>
                  <a:pt x="309936" y="521437"/>
                  <a:pt x="314325" y="523875"/>
                </a:cubicBezTo>
                <a:cubicBezTo>
                  <a:pt x="363450" y="551167"/>
                  <a:pt x="324860" y="536912"/>
                  <a:pt x="357187" y="547687"/>
                </a:cubicBezTo>
                <a:cubicBezTo>
                  <a:pt x="358775" y="552450"/>
                  <a:pt x="359165" y="557798"/>
                  <a:pt x="361950" y="561975"/>
                </a:cubicBezTo>
                <a:cubicBezTo>
                  <a:pt x="383020" y="593580"/>
                  <a:pt x="370176" y="559380"/>
                  <a:pt x="385762" y="590550"/>
                </a:cubicBezTo>
                <a:cubicBezTo>
                  <a:pt x="405481" y="629986"/>
                  <a:pt x="372752" y="578176"/>
                  <a:pt x="400050" y="619125"/>
                </a:cubicBezTo>
                <a:cubicBezTo>
                  <a:pt x="401637" y="623887"/>
                  <a:pt x="401676" y="629492"/>
                  <a:pt x="404812" y="633412"/>
                </a:cubicBezTo>
                <a:cubicBezTo>
                  <a:pt x="408388" y="637882"/>
                  <a:pt x="413980" y="640377"/>
                  <a:pt x="419100" y="642937"/>
                </a:cubicBezTo>
                <a:cubicBezTo>
                  <a:pt x="426718" y="646746"/>
                  <a:pt x="445308" y="650425"/>
                  <a:pt x="452437" y="652462"/>
                </a:cubicBezTo>
                <a:cubicBezTo>
                  <a:pt x="457264" y="653841"/>
                  <a:pt x="461962" y="655637"/>
                  <a:pt x="466725" y="657225"/>
                </a:cubicBezTo>
                <a:cubicBezTo>
                  <a:pt x="514854" y="654016"/>
                  <a:pt x="551665" y="674706"/>
                  <a:pt x="533400" y="638175"/>
                </a:cubicBezTo>
                <a:cubicBezTo>
                  <a:pt x="530840" y="633055"/>
                  <a:pt x="527050" y="628650"/>
                  <a:pt x="523875" y="623887"/>
                </a:cubicBezTo>
                <a:cubicBezTo>
                  <a:pt x="525462" y="619125"/>
                  <a:pt x="525087" y="613150"/>
                  <a:pt x="528637" y="609600"/>
                </a:cubicBezTo>
                <a:cubicBezTo>
                  <a:pt x="532187" y="606050"/>
                  <a:pt x="538435" y="607082"/>
                  <a:pt x="542925" y="604837"/>
                </a:cubicBezTo>
                <a:cubicBezTo>
                  <a:pt x="579847" y="586376"/>
                  <a:pt x="535593" y="602517"/>
                  <a:pt x="571500" y="590550"/>
                </a:cubicBezTo>
                <a:cubicBezTo>
                  <a:pt x="573087" y="603250"/>
                  <a:pt x="571064" y="616954"/>
                  <a:pt x="576262" y="628650"/>
                </a:cubicBezTo>
                <a:cubicBezTo>
                  <a:pt x="578301" y="633238"/>
                  <a:pt x="586060" y="631167"/>
                  <a:pt x="590550" y="633412"/>
                </a:cubicBezTo>
                <a:cubicBezTo>
                  <a:pt x="595669" y="635972"/>
                  <a:pt x="599607" y="640612"/>
                  <a:pt x="604837" y="642937"/>
                </a:cubicBezTo>
                <a:cubicBezTo>
                  <a:pt x="614012" y="647015"/>
                  <a:pt x="633412" y="652462"/>
                  <a:pt x="633412" y="652462"/>
                </a:cubicBezTo>
                <a:cubicBezTo>
                  <a:pt x="650875" y="650875"/>
                  <a:pt x="668532" y="650747"/>
                  <a:pt x="685800" y="647700"/>
                </a:cubicBezTo>
                <a:cubicBezTo>
                  <a:pt x="695687" y="645955"/>
                  <a:pt x="704635" y="640610"/>
                  <a:pt x="714375" y="638175"/>
                </a:cubicBezTo>
                <a:cubicBezTo>
                  <a:pt x="720725" y="636587"/>
                  <a:pt x="727156" y="635293"/>
                  <a:pt x="733425" y="633412"/>
                </a:cubicBezTo>
                <a:cubicBezTo>
                  <a:pt x="743042" y="630527"/>
                  <a:pt x="752259" y="626322"/>
                  <a:pt x="762000" y="623887"/>
                </a:cubicBezTo>
                <a:cubicBezTo>
                  <a:pt x="790786" y="616691"/>
                  <a:pt x="774847" y="621193"/>
                  <a:pt x="809625" y="609600"/>
                </a:cubicBezTo>
                <a:lnTo>
                  <a:pt x="823912" y="604837"/>
                </a:lnTo>
                <a:lnTo>
                  <a:pt x="838200" y="600075"/>
                </a:lnTo>
                <a:cubicBezTo>
                  <a:pt x="842614" y="597132"/>
                  <a:pt x="863001" y="587764"/>
                  <a:pt x="857250" y="576262"/>
                </a:cubicBezTo>
                <a:cubicBezTo>
                  <a:pt x="855005" y="571772"/>
                  <a:pt x="847725" y="573087"/>
                  <a:pt x="842962" y="571500"/>
                </a:cubicBezTo>
                <a:cubicBezTo>
                  <a:pt x="839787" y="566737"/>
                  <a:pt x="833876" y="562919"/>
                  <a:pt x="833437" y="557212"/>
                </a:cubicBezTo>
                <a:cubicBezTo>
                  <a:pt x="831135" y="527286"/>
                  <a:pt x="835535" y="517582"/>
                  <a:pt x="842962" y="495300"/>
                </a:cubicBezTo>
                <a:cubicBezTo>
                  <a:pt x="841375" y="487362"/>
                  <a:pt x="842216" y="478515"/>
                  <a:pt x="838200" y="471487"/>
                </a:cubicBezTo>
                <a:cubicBezTo>
                  <a:pt x="835360" y="466517"/>
                  <a:pt x="825300" y="467515"/>
                  <a:pt x="823912" y="461962"/>
                </a:cubicBezTo>
                <a:cubicBezTo>
                  <a:pt x="821570" y="452594"/>
                  <a:pt x="826580" y="442813"/>
                  <a:pt x="828675" y="433387"/>
                </a:cubicBezTo>
                <a:cubicBezTo>
                  <a:pt x="831961" y="418598"/>
                  <a:pt x="834399" y="417657"/>
                  <a:pt x="842962" y="404812"/>
                </a:cubicBezTo>
                <a:cubicBezTo>
                  <a:pt x="841375" y="396875"/>
                  <a:pt x="842690" y="387735"/>
                  <a:pt x="838200" y="381000"/>
                </a:cubicBezTo>
                <a:cubicBezTo>
                  <a:pt x="835415" y="376823"/>
                  <a:pt x="828402" y="378482"/>
                  <a:pt x="823912" y="376237"/>
                </a:cubicBezTo>
                <a:cubicBezTo>
                  <a:pt x="786990" y="357776"/>
                  <a:pt x="831244" y="373917"/>
                  <a:pt x="795337" y="361950"/>
                </a:cubicBezTo>
                <a:cubicBezTo>
                  <a:pt x="790575" y="357187"/>
                  <a:pt x="784062" y="353686"/>
                  <a:pt x="781050" y="347662"/>
                </a:cubicBezTo>
                <a:cubicBezTo>
                  <a:pt x="775820" y="337202"/>
                  <a:pt x="773579" y="310497"/>
                  <a:pt x="781050" y="300037"/>
                </a:cubicBezTo>
                <a:cubicBezTo>
                  <a:pt x="785177" y="294260"/>
                  <a:pt x="793612" y="293395"/>
                  <a:pt x="800100" y="290512"/>
                </a:cubicBezTo>
                <a:cubicBezTo>
                  <a:pt x="819982" y="281675"/>
                  <a:pt x="831366" y="278502"/>
                  <a:pt x="852487" y="271462"/>
                </a:cubicBezTo>
                <a:cubicBezTo>
                  <a:pt x="859222" y="269217"/>
                  <a:pt x="865011" y="264734"/>
                  <a:pt x="871537" y="261937"/>
                </a:cubicBezTo>
                <a:cubicBezTo>
                  <a:pt x="876151" y="259960"/>
                  <a:pt x="881062" y="258762"/>
                  <a:pt x="885825" y="257175"/>
                </a:cubicBezTo>
                <a:cubicBezTo>
                  <a:pt x="890587" y="252412"/>
                  <a:pt x="896841" y="248775"/>
                  <a:pt x="900112" y="242887"/>
                </a:cubicBezTo>
                <a:cubicBezTo>
                  <a:pt x="907664" y="229293"/>
                  <a:pt x="911322" y="205889"/>
                  <a:pt x="914400" y="190500"/>
                </a:cubicBezTo>
                <a:cubicBezTo>
                  <a:pt x="912812" y="185737"/>
                  <a:pt x="912773" y="180132"/>
                  <a:pt x="909637" y="176212"/>
                </a:cubicBezTo>
                <a:cubicBezTo>
                  <a:pt x="902922" y="167818"/>
                  <a:pt x="890475" y="165062"/>
                  <a:pt x="881062" y="161925"/>
                </a:cubicBezTo>
                <a:cubicBezTo>
                  <a:pt x="882650" y="150812"/>
                  <a:pt x="882599" y="139339"/>
                  <a:pt x="885825" y="128587"/>
                </a:cubicBezTo>
                <a:cubicBezTo>
                  <a:pt x="887470" y="123105"/>
                  <a:pt x="892790" y="119419"/>
                  <a:pt x="895350" y="114300"/>
                </a:cubicBezTo>
                <a:cubicBezTo>
                  <a:pt x="897595" y="109810"/>
                  <a:pt x="897621" y="104371"/>
                  <a:pt x="900112" y="100012"/>
                </a:cubicBezTo>
                <a:cubicBezTo>
                  <a:pt x="904050" y="93120"/>
                  <a:pt x="909786" y="87421"/>
                  <a:pt x="914400" y="80962"/>
                </a:cubicBezTo>
                <a:cubicBezTo>
                  <a:pt x="917727" y="76305"/>
                  <a:pt x="920750" y="71437"/>
                  <a:pt x="923925" y="66675"/>
                </a:cubicBezTo>
                <a:cubicBezTo>
                  <a:pt x="927100" y="57150"/>
                  <a:pt x="925096" y="43669"/>
                  <a:pt x="933450" y="38100"/>
                </a:cubicBezTo>
                <a:cubicBezTo>
                  <a:pt x="938212" y="34925"/>
                  <a:pt x="942215" y="30081"/>
                  <a:pt x="947737" y="28575"/>
                </a:cubicBezTo>
                <a:cubicBezTo>
                  <a:pt x="1055457" y="-805"/>
                  <a:pt x="915498" y="50433"/>
                  <a:pt x="1023937" y="14287"/>
                </a:cubicBezTo>
                <a:lnTo>
                  <a:pt x="1052512" y="4762"/>
                </a:lnTo>
                <a:lnTo>
                  <a:pt x="1066800" y="0"/>
                </a:lnTo>
                <a:cubicBezTo>
                  <a:pt x="1071562" y="4762"/>
                  <a:pt x="1076775" y="9113"/>
                  <a:pt x="1081087" y="14287"/>
                </a:cubicBezTo>
                <a:cubicBezTo>
                  <a:pt x="1084751" y="18684"/>
                  <a:pt x="1086948" y="24178"/>
                  <a:pt x="1090612" y="28575"/>
                </a:cubicBezTo>
                <a:cubicBezTo>
                  <a:pt x="1099102" y="38763"/>
                  <a:pt x="1105478" y="46433"/>
                  <a:pt x="1119187" y="47625"/>
                </a:cubicBezTo>
                <a:cubicBezTo>
                  <a:pt x="1150857" y="50379"/>
                  <a:pt x="1182687" y="50800"/>
                  <a:pt x="1214437" y="52387"/>
                </a:cubicBezTo>
                <a:lnTo>
                  <a:pt x="1243012" y="61912"/>
                </a:lnTo>
                <a:cubicBezTo>
                  <a:pt x="1247775" y="63500"/>
                  <a:pt x="1245337" y="71811"/>
                  <a:pt x="1247775" y="76200"/>
                </a:cubicBezTo>
                <a:cubicBezTo>
                  <a:pt x="1253334" y="86207"/>
                  <a:pt x="1260475" y="95250"/>
                  <a:pt x="1266825" y="104775"/>
                </a:cubicBezTo>
                <a:lnTo>
                  <a:pt x="1285875" y="133350"/>
                </a:lnTo>
                <a:cubicBezTo>
                  <a:pt x="1289050" y="138112"/>
                  <a:pt x="1291353" y="143590"/>
                  <a:pt x="1295400" y="147637"/>
                </a:cubicBezTo>
                <a:lnTo>
                  <a:pt x="1309687" y="161925"/>
                </a:lnTo>
                <a:cubicBezTo>
                  <a:pt x="1322832" y="201360"/>
                  <a:pt x="1313643" y="182146"/>
                  <a:pt x="1338262" y="219075"/>
                </a:cubicBezTo>
                <a:cubicBezTo>
                  <a:pt x="1341437" y="223838"/>
                  <a:pt x="1347787" y="225425"/>
                  <a:pt x="1352550" y="228600"/>
                </a:cubicBezTo>
                <a:cubicBezTo>
                  <a:pt x="1374385" y="261352"/>
                  <a:pt x="1360740" y="253555"/>
                  <a:pt x="1385887" y="261937"/>
                </a:cubicBezTo>
                <a:cubicBezTo>
                  <a:pt x="1431470" y="307520"/>
                  <a:pt x="1373107" y="253417"/>
                  <a:pt x="1414462" y="280987"/>
                </a:cubicBezTo>
                <a:cubicBezTo>
                  <a:pt x="1420066" y="284723"/>
                  <a:pt x="1422862" y="292004"/>
                  <a:pt x="1428750" y="295275"/>
                </a:cubicBezTo>
                <a:cubicBezTo>
                  <a:pt x="1437527" y="300151"/>
                  <a:pt x="1457325" y="304800"/>
                  <a:pt x="1457325" y="304800"/>
                </a:cubicBezTo>
                <a:cubicBezTo>
                  <a:pt x="1468694" y="338911"/>
                  <a:pt x="1452440" y="299890"/>
                  <a:pt x="1476375" y="328612"/>
                </a:cubicBezTo>
                <a:cubicBezTo>
                  <a:pt x="1480920" y="334066"/>
                  <a:pt x="1482378" y="341498"/>
                  <a:pt x="1485900" y="347662"/>
                </a:cubicBezTo>
                <a:cubicBezTo>
                  <a:pt x="1488740" y="352632"/>
                  <a:pt x="1492250" y="357187"/>
                  <a:pt x="1495425" y="361950"/>
                </a:cubicBezTo>
                <a:cubicBezTo>
                  <a:pt x="1497012" y="366712"/>
                  <a:pt x="1497402" y="372060"/>
                  <a:pt x="1500187" y="376237"/>
                </a:cubicBezTo>
                <a:cubicBezTo>
                  <a:pt x="1503923" y="381841"/>
                  <a:pt x="1509301" y="386213"/>
                  <a:pt x="1514475" y="390525"/>
                </a:cubicBezTo>
                <a:cubicBezTo>
                  <a:pt x="1540121" y="411897"/>
                  <a:pt x="1551005" y="401639"/>
                  <a:pt x="1595437" y="404812"/>
                </a:cubicBezTo>
                <a:lnTo>
                  <a:pt x="1624012" y="423862"/>
                </a:lnTo>
                <a:cubicBezTo>
                  <a:pt x="1635973" y="431836"/>
                  <a:pt x="1623436" y="453378"/>
                  <a:pt x="1628775" y="466725"/>
                </a:cubicBezTo>
                <a:cubicBezTo>
                  <a:pt x="1630639" y="471386"/>
                  <a:pt x="1638300" y="469900"/>
                  <a:pt x="1643062" y="471487"/>
                </a:cubicBezTo>
                <a:lnTo>
                  <a:pt x="1671637" y="490537"/>
                </a:lnTo>
                <a:cubicBezTo>
                  <a:pt x="1676376" y="493696"/>
                  <a:pt x="1719164" y="500046"/>
                  <a:pt x="1719262" y="500062"/>
                </a:cubicBezTo>
                <a:lnTo>
                  <a:pt x="1747837" y="509587"/>
                </a:lnTo>
                <a:cubicBezTo>
                  <a:pt x="1758697" y="513207"/>
                  <a:pt x="1765552" y="525017"/>
                  <a:pt x="1776412" y="528637"/>
                </a:cubicBezTo>
                <a:lnTo>
                  <a:pt x="1804987" y="538162"/>
                </a:lnTo>
                <a:cubicBezTo>
                  <a:pt x="1823122" y="544207"/>
                  <a:pt x="1843138" y="540814"/>
                  <a:pt x="1862137" y="542925"/>
                </a:cubicBezTo>
                <a:cubicBezTo>
                  <a:pt x="1871734" y="543991"/>
                  <a:pt x="1881187" y="546100"/>
                  <a:pt x="1890712" y="547687"/>
                </a:cubicBezTo>
                <a:cubicBezTo>
                  <a:pt x="1924976" y="559109"/>
                  <a:pt x="1882181" y="545249"/>
                  <a:pt x="1924050" y="557212"/>
                </a:cubicBezTo>
                <a:cubicBezTo>
                  <a:pt x="1928877" y="558591"/>
                  <a:pt x="1934321" y="558963"/>
                  <a:pt x="1938337" y="561975"/>
                </a:cubicBezTo>
                <a:cubicBezTo>
                  <a:pt x="1941177" y="564105"/>
                  <a:pt x="1926431" y="561181"/>
                  <a:pt x="1928812" y="561975"/>
                </a:cubicBezTo>
                <a:close/>
              </a:path>
            </a:pathLst>
          </a:custGeom>
          <a:solidFill>
            <a:srgbClr val="92D050">
              <a:alpha val="48000"/>
            </a:srgbClr>
          </a:solidFill>
          <a:ln w="762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4291" tIns="32146" rIns="64291" bIns="32146" numCol="1" rtlCol="0" anchor="t" anchorCtr="0" compatLnSpc="1">
            <a:prstTxWarp prst="textNoShape">
              <a:avLst/>
            </a:prstTxWarp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endParaRPr lang="hu-HU" sz="800" dirty="0" err="1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pic>
        <p:nvPicPr>
          <p:cNvPr id="537" name="Picture 82"/>
          <p:cNvPicPr>
            <a:picLocks noChangeAspect="1" noChangeArrowheads="1"/>
          </p:cNvPicPr>
          <p:nvPr/>
        </p:nvPicPr>
        <p:blipFill>
          <a:blip r:embed="rId1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064" y="5194301"/>
            <a:ext cx="1252539" cy="1252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zabadkézi sokszög 7"/>
          <p:cNvSpPr/>
          <p:nvPr/>
        </p:nvSpPr>
        <p:spPr bwMode="auto">
          <a:xfrm>
            <a:off x="7479506" y="5298877"/>
            <a:ext cx="1023453" cy="991195"/>
          </a:xfrm>
          <a:custGeom>
            <a:avLst/>
            <a:gdLst>
              <a:gd name="connsiteX0" fmla="*/ 0 w 1455577"/>
              <a:gd name="connsiteY0" fmla="*/ 190500 h 1409700"/>
              <a:gd name="connsiteX1" fmla="*/ 68580 w 1455577"/>
              <a:gd name="connsiteY1" fmla="*/ 182880 h 1409700"/>
              <a:gd name="connsiteX2" fmla="*/ 91440 w 1455577"/>
              <a:gd name="connsiteY2" fmla="*/ 175260 h 1409700"/>
              <a:gd name="connsiteX3" fmla="*/ 121920 w 1455577"/>
              <a:gd name="connsiteY3" fmla="*/ 182880 h 1409700"/>
              <a:gd name="connsiteX4" fmla="*/ 152400 w 1455577"/>
              <a:gd name="connsiteY4" fmla="*/ 175260 h 1409700"/>
              <a:gd name="connsiteX5" fmla="*/ 160020 w 1455577"/>
              <a:gd name="connsiteY5" fmla="*/ 152400 h 1409700"/>
              <a:gd name="connsiteX6" fmla="*/ 205740 w 1455577"/>
              <a:gd name="connsiteY6" fmla="*/ 137160 h 1409700"/>
              <a:gd name="connsiteX7" fmla="*/ 251460 w 1455577"/>
              <a:gd name="connsiteY7" fmla="*/ 114300 h 1409700"/>
              <a:gd name="connsiteX8" fmla="*/ 274320 w 1455577"/>
              <a:gd name="connsiteY8" fmla="*/ 106680 h 1409700"/>
              <a:gd name="connsiteX9" fmla="*/ 457200 w 1455577"/>
              <a:gd name="connsiteY9" fmla="*/ 114300 h 1409700"/>
              <a:gd name="connsiteX10" fmla="*/ 502920 w 1455577"/>
              <a:gd name="connsiteY10" fmla="*/ 114300 h 1409700"/>
              <a:gd name="connsiteX11" fmla="*/ 510540 w 1455577"/>
              <a:gd name="connsiteY11" fmla="*/ 91440 h 1409700"/>
              <a:gd name="connsiteX12" fmla="*/ 525780 w 1455577"/>
              <a:gd name="connsiteY12" fmla="*/ 68580 h 1409700"/>
              <a:gd name="connsiteX13" fmla="*/ 541020 w 1455577"/>
              <a:gd name="connsiteY13" fmla="*/ 22860 h 1409700"/>
              <a:gd name="connsiteX14" fmla="*/ 548640 w 1455577"/>
              <a:gd name="connsiteY14" fmla="*/ 0 h 1409700"/>
              <a:gd name="connsiteX15" fmla="*/ 655320 w 1455577"/>
              <a:gd name="connsiteY15" fmla="*/ 7620 h 1409700"/>
              <a:gd name="connsiteX16" fmla="*/ 708660 w 1455577"/>
              <a:gd name="connsiteY16" fmla="*/ 60960 h 1409700"/>
              <a:gd name="connsiteX17" fmla="*/ 716280 w 1455577"/>
              <a:gd name="connsiteY17" fmla="*/ 83820 h 1409700"/>
              <a:gd name="connsiteX18" fmla="*/ 731520 w 1455577"/>
              <a:gd name="connsiteY18" fmla="*/ 106680 h 1409700"/>
              <a:gd name="connsiteX19" fmla="*/ 762000 w 1455577"/>
              <a:gd name="connsiteY19" fmla="*/ 152400 h 1409700"/>
              <a:gd name="connsiteX20" fmla="*/ 792480 w 1455577"/>
              <a:gd name="connsiteY20" fmla="*/ 190500 h 1409700"/>
              <a:gd name="connsiteX21" fmla="*/ 807720 w 1455577"/>
              <a:gd name="connsiteY21" fmla="*/ 213360 h 1409700"/>
              <a:gd name="connsiteX22" fmla="*/ 830580 w 1455577"/>
              <a:gd name="connsiteY22" fmla="*/ 228600 h 1409700"/>
              <a:gd name="connsiteX23" fmla="*/ 838200 w 1455577"/>
              <a:gd name="connsiteY23" fmla="*/ 251460 h 1409700"/>
              <a:gd name="connsiteX24" fmla="*/ 883920 w 1455577"/>
              <a:gd name="connsiteY24" fmla="*/ 281940 h 1409700"/>
              <a:gd name="connsiteX25" fmla="*/ 906780 w 1455577"/>
              <a:gd name="connsiteY25" fmla="*/ 297180 h 1409700"/>
              <a:gd name="connsiteX26" fmla="*/ 922020 w 1455577"/>
              <a:gd name="connsiteY26" fmla="*/ 320040 h 1409700"/>
              <a:gd name="connsiteX27" fmla="*/ 929640 w 1455577"/>
              <a:gd name="connsiteY27" fmla="*/ 342900 h 1409700"/>
              <a:gd name="connsiteX28" fmla="*/ 952500 w 1455577"/>
              <a:gd name="connsiteY28" fmla="*/ 350520 h 1409700"/>
              <a:gd name="connsiteX29" fmla="*/ 1021080 w 1455577"/>
              <a:gd name="connsiteY29" fmla="*/ 381000 h 1409700"/>
              <a:gd name="connsiteX30" fmla="*/ 1143000 w 1455577"/>
              <a:gd name="connsiteY30" fmla="*/ 396240 h 1409700"/>
              <a:gd name="connsiteX31" fmla="*/ 1150620 w 1455577"/>
              <a:gd name="connsiteY31" fmla="*/ 419100 h 1409700"/>
              <a:gd name="connsiteX32" fmla="*/ 1158240 w 1455577"/>
              <a:gd name="connsiteY32" fmla="*/ 457200 h 1409700"/>
              <a:gd name="connsiteX33" fmla="*/ 1203960 w 1455577"/>
              <a:gd name="connsiteY33" fmla="*/ 487680 h 1409700"/>
              <a:gd name="connsiteX34" fmla="*/ 1234440 w 1455577"/>
              <a:gd name="connsiteY34" fmla="*/ 548640 h 1409700"/>
              <a:gd name="connsiteX35" fmla="*/ 1272540 w 1455577"/>
              <a:gd name="connsiteY35" fmla="*/ 541020 h 1409700"/>
              <a:gd name="connsiteX36" fmla="*/ 1295400 w 1455577"/>
              <a:gd name="connsiteY36" fmla="*/ 525780 h 1409700"/>
              <a:gd name="connsiteX37" fmla="*/ 1394460 w 1455577"/>
              <a:gd name="connsiteY37" fmla="*/ 525780 h 1409700"/>
              <a:gd name="connsiteX38" fmla="*/ 1409700 w 1455577"/>
              <a:gd name="connsiteY38" fmla="*/ 579120 h 1409700"/>
              <a:gd name="connsiteX39" fmla="*/ 1424940 w 1455577"/>
              <a:gd name="connsiteY39" fmla="*/ 624840 h 1409700"/>
              <a:gd name="connsiteX40" fmla="*/ 1432560 w 1455577"/>
              <a:gd name="connsiteY40" fmla="*/ 647700 h 1409700"/>
              <a:gd name="connsiteX41" fmla="*/ 1440180 w 1455577"/>
              <a:gd name="connsiteY41" fmla="*/ 670560 h 1409700"/>
              <a:gd name="connsiteX42" fmla="*/ 1447800 w 1455577"/>
              <a:gd name="connsiteY42" fmla="*/ 723900 h 1409700"/>
              <a:gd name="connsiteX43" fmla="*/ 1455420 w 1455577"/>
              <a:gd name="connsiteY43" fmla="*/ 746760 h 1409700"/>
              <a:gd name="connsiteX44" fmla="*/ 1440180 w 1455577"/>
              <a:gd name="connsiteY44" fmla="*/ 769620 h 1409700"/>
              <a:gd name="connsiteX45" fmla="*/ 1409700 w 1455577"/>
              <a:gd name="connsiteY45" fmla="*/ 822960 h 1409700"/>
              <a:gd name="connsiteX46" fmla="*/ 1402080 w 1455577"/>
              <a:gd name="connsiteY46" fmla="*/ 845820 h 1409700"/>
              <a:gd name="connsiteX47" fmla="*/ 1318260 w 1455577"/>
              <a:gd name="connsiteY47" fmla="*/ 891540 h 1409700"/>
              <a:gd name="connsiteX48" fmla="*/ 1295400 w 1455577"/>
              <a:gd name="connsiteY48" fmla="*/ 899160 h 1409700"/>
              <a:gd name="connsiteX49" fmla="*/ 1272540 w 1455577"/>
              <a:gd name="connsiteY49" fmla="*/ 914400 h 1409700"/>
              <a:gd name="connsiteX50" fmla="*/ 1226820 w 1455577"/>
              <a:gd name="connsiteY50" fmla="*/ 929640 h 1409700"/>
              <a:gd name="connsiteX51" fmla="*/ 1196340 w 1455577"/>
              <a:gd name="connsiteY51" fmla="*/ 944880 h 1409700"/>
              <a:gd name="connsiteX52" fmla="*/ 1165860 w 1455577"/>
              <a:gd name="connsiteY52" fmla="*/ 982980 h 1409700"/>
              <a:gd name="connsiteX53" fmla="*/ 1158240 w 1455577"/>
              <a:gd name="connsiteY53" fmla="*/ 1005840 h 1409700"/>
              <a:gd name="connsiteX54" fmla="*/ 1112520 w 1455577"/>
              <a:gd name="connsiteY54" fmla="*/ 1021080 h 1409700"/>
              <a:gd name="connsiteX55" fmla="*/ 1059180 w 1455577"/>
              <a:gd name="connsiteY55" fmla="*/ 1036320 h 1409700"/>
              <a:gd name="connsiteX56" fmla="*/ 1043940 w 1455577"/>
              <a:gd name="connsiteY56" fmla="*/ 1059180 h 1409700"/>
              <a:gd name="connsiteX57" fmla="*/ 1036320 w 1455577"/>
              <a:gd name="connsiteY57" fmla="*/ 1082040 h 1409700"/>
              <a:gd name="connsiteX58" fmla="*/ 1005840 w 1455577"/>
              <a:gd name="connsiteY58" fmla="*/ 1127760 h 1409700"/>
              <a:gd name="connsiteX59" fmla="*/ 990600 w 1455577"/>
              <a:gd name="connsiteY59" fmla="*/ 1173480 h 1409700"/>
              <a:gd name="connsiteX60" fmla="*/ 975360 w 1455577"/>
              <a:gd name="connsiteY60" fmla="*/ 1203960 h 1409700"/>
              <a:gd name="connsiteX61" fmla="*/ 960120 w 1455577"/>
              <a:gd name="connsiteY61" fmla="*/ 1249680 h 1409700"/>
              <a:gd name="connsiteX62" fmla="*/ 944880 w 1455577"/>
              <a:gd name="connsiteY62" fmla="*/ 1272540 h 1409700"/>
              <a:gd name="connsiteX63" fmla="*/ 914400 w 1455577"/>
              <a:gd name="connsiteY63" fmla="*/ 1348740 h 1409700"/>
              <a:gd name="connsiteX64" fmla="*/ 845820 w 1455577"/>
              <a:gd name="connsiteY64" fmla="*/ 1386840 h 1409700"/>
              <a:gd name="connsiteX65" fmla="*/ 800100 w 1455577"/>
              <a:gd name="connsiteY65" fmla="*/ 1409700 h 1409700"/>
              <a:gd name="connsiteX66" fmla="*/ 746760 w 1455577"/>
              <a:gd name="connsiteY66" fmla="*/ 1402080 h 1409700"/>
              <a:gd name="connsiteX67" fmla="*/ 731520 w 1455577"/>
              <a:gd name="connsiteY67" fmla="*/ 1379220 h 1409700"/>
              <a:gd name="connsiteX68" fmla="*/ 708660 w 1455577"/>
              <a:gd name="connsiteY68" fmla="*/ 1371600 h 1409700"/>
              <a:gd name="connsiteX69" fmla="*/ 678180 w 1455577"/>
              <a:gd name="connsiteY69" fmla="*/ 1333500 h 1409700"/>
              <a:gd name="connsiteX70" fmla="*/ 647700 w 1455577"/>
              <a:gd name="connsiteY70" fmla="*/ 1287780 h 1409700"/>
              <a:gd name="connsiteX71" fmla="*/ 632460 w 1455577"/>
              <a:gd name="connsiteY71" fmla="*/ 1264920 h 1409700"/>
              <a:gd name="connsiteX72" fmla="*/ 624840 w 1455577"/>
              <a:gd name="connsiteY72" fmla="*/ 1219200 h 1409700"/>
              <a:gd name="connsiteX73" fmla="*/ 601980 w 1455577"/>
              <a:gd name="connsiteY73" fmla="*/ 1203960 h 1409700"/>
              <a:gd name="connsiteX74" fmla="*/ 571500 w 1455577"/>
              <a:gd name="connsiteY74" fmla="*/ 1158240 h 1409700"/>
              <a:gd name="connsiteX75" fmla="*/ 563880 w 1455577"/>
              <a:gd name="connsiteY75" fmla="*/ 1135380 h 1409700"/>
              <a:gd name="connsiteX76" fmla="*/ 541020 w 1455577"/>
              <a:gd name="connsiteY76" fmla="*/ 1127760 h 1409700"/>
              <a:gd name="connsiteX77" fmla="*/ 487680 w 1455577"/>
              <a:gd name="connsiteY77" fmla="*/ 1135380 h 1409700"/>
              <a:gd name="connsiteX78" fmla="*/ 480060 w 1455577"/>
              <a:gd name="connsiteY78" fmla="*/ 1158240 h 1409700"/>
              <a:gd name="connsiteX79" fmla="*/ 426720 w 1455577"/>
              <a:gd name="connsiteY79" fmla="*/ 1181100 h 1409700"/>
              <a:gd name="connsiteX80" fmla="*/ 381000 w 1455577"/>
              <a:gd name="connsiteY80" fmla="*/ 1211580 h 1409700"/>
              <a:gd name="connsiteX81" fmla="*/ 335280 w 1455577"/>
              <a:gd name="connsiteY81" fmla="*/ 1203960 h 1409700"/>
              <a:gd name="connsiteX82" fmla="*/ 251460 w 1455577"/>
              <a:gd name="connsiteY82" fmla="*/ 1196340 h 1409700"/>
              <a:gd name="connsiteX83" fmla="*/ 182880 w 1455577"/>
              <a:gd name="connsiteY83" fmla="*/ 1188720 h 1409700"/>
              <a:gd name="connsiteX84" fmla="*/ 114300 w 1455577"/>
              <a:gd name="connsiteY84" fmla="*/ 1211580 h 1409700"/>
              <a:gd name="connsiteX85" fmla="*/ 129540 w 1455577"/>
              <a:gd name="connsiteY85" fmla="*/ 1234440 h 1409700"/>
              <a:gd name="connsiteX86" fmla="*/ 106680 w 1455577"/>
              <a:gd name="connsiteY86" fmla="*/ 1219200 h 1409700"/>
              <a:gd name="connsiteX87" fmla="*/ 22860 w 1455577"/>
              <a:gd name="connsiteY87" fmla="*/ 1211580 h 1409700"/>
              <a:gd name="connsiteX88" fmla="*/ 15240 w 1455577"/>
              <a:gd name="connsiteY88" fmla="*/ 1188720 h 1409700"/>
              <a:gd name="connsiteX89" fmla="*/ 30480 w 1455577"/>
              <a:gd name="connsiteY89" fmla="*/ 1211580 h 1409700"/>
              <a:gd name="connsiteX90" fmla="*/ 60960 w 1455577"/>
              <a:gd name="connsiteY90" fmla="*/ 1203960 h 1409700"/>
              <a:gd name="connsiteX91" fmla="*/ 99060 w 1455577"/>
              <a:gd name="connsiteY91" fmla="*/ 1196340 h 1409700"/>
              <a:gd name="connsiteX92" fmla="*/ 76200 w 1455577"/>
              <a:gd name="connsiteY92" fmla="*/ 1097280 h 1409700"/>
              <a:gd name="connsiteX93" fmla="*/ 68580 w 1455577"/>
              <a:gd name="connsiteY93" fmla="*/ 1074420 h 1409700"/>
              <a:gd name="connsiteX94" fmla="*/ 76200 w 1455577"/>
              <a:gd name="connsiteY94" fmla="*/ 1043940 h 1409700"/>
              <a:gd name="connsiteX95" fmla="*/ 106680 w 1455577"/>
              <a:gd name="connsiteY95" fmla="*/ 998220 h 1409700"/>
              <a:gd name="connsiteX96" fmla="*/ 121920 w 1455577"/>
              <a:gd name="connsiteY96" fmla="*/ 975360 h 1409700"/>
              <a:gd name="connsiteX97" fmla="*/ 137160 w 1455577"/>
              <a:gd name="connsiteY97" fmla="*/ 929640 h 1409700"/>
              <a:gd name="connsiteX98" fmla="*/ 137160 w 1455577"/>
              <a:gd name="connsiteY98" fmla="*/ 853440 h 1409700"/>
              <a:gd name="connsiteX99" fmla="*/ 160020 w 1455577"/>
              <a:gd name="connsiteY99" fmla="*/ 845820 h 1409700"/>
              <a:gd name="connsiteX100" fmla="*/ 167640 w 1455577"/>
              <a:gd name="connsiteY100" fmla="*/ 731520 h 1409700"/>
              <a:gd name="connsiteX101" fmla="*/ 121920 w 1455577"/>
              <a:gd name="connsiteY101" fmla="*/ 708660 h 1409700"/>
              <a:gd name="connsiteX102" fmla="*/ 106680 w 1455577"/>
              <a:gd name="connsiteY102" fmla="*/ 685800 h 1409700"/>
              <a:gd name="connsiteX103" fmla="*/ 99060 w 1455577"/>
              <a:gd name="connsiteY103" fmla="*/ 662940 h 1409700"/>
              <a:gd name="connsiteX104" fmla="*/ 30480 w 1455577"/>
              <a:gd name="connsiteY104" fmla="*/ 601980 h 1409700"/>
              <a:gd name="connsiteX105" fmla="*/ 22860 w 1455577"/>
              <a:gd name="connsiteY105" fmla="*/ 563880 h 1409700"/>
              <a:gd name="connsiteX106" fmla="*/ 38100 w 1455577"/>
              <a:gd name="connsiteY106" fmla="*/ 457200 h 1409700"/>
              <a:gd name="connsiteX107" fmla="*/ 30480 w 1455577"/>
              <a:gd name="connsiteY107" fmla="*/ 396240 h 1409700"/>
              <a:gd name="connsiteX108" fmla="*/ 7620 w 1455577"/>
              <a:gd name="connsiteY108" fmla="*/ 381000 h 1409700"/>
              <a:gd name="connsiteX109" fmla="*/ 0 w 1455577"/>
              <a:gd name="connsiteY109" fmla="*/ 358140 h 1409700"/>
              <a:gd name="connsiteX110" fmla="*/ 7620 w 1455577"/>
              <a:gd name="connsiteY110" fmla="*/ 320040 h 1409700"/>
              <a:gd name="connsiteX111" fmla="*/ 30480 w 1455577"/>
              <a:gd name="connsiteY111" fmla="*/ 304800 h 1409700"/>
              <a:gd name="connsiteX112" fmla="*/ 22860 w 1455577"/>
              <a:gd name="connsiteY112" fmla="*/ 236220 h 1409700"/>
              <a:gd name="connsiteX113" fmla="*/ 175260 w 1455577"/>
              <a:gd name="connsiteY113" fmla="*/ 190500 h 1409700"/>
              <a:gd name="connsiteX114" fmla="*/ 182880 w 1455577"/>
              <a:gd name="connsiteY114" fmla="*/ 144780 h 1409700"/>
              <a:gd name="connsiteX115" fmla="*/ 205740 w 1455577"/>
              <a:gd name="connsiteY115" fmla="*/ 144780 h 140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455577" h="1409700">
                <a:moveTo>
                  <a:pt x="0" y="190500"/>
                </a:moveTo>
                <a:cubicBezTo>
                  <a:pt x="22860" y="187960"/>
                  <a:pt x="45892" y="186661"/>
                  <a:pt x="68580" y="182880"/>
                </a:cubicBezTo>
                <a:cubicBezTo>
                  <a:pt x="76503" y="181560"/>
                  <a:pt x="83408" y="175260"/>
                  <a:pt x="91440" y="175260"/>
                </a:cubicBezTo>
                <a:cubicBezTo>
                  <a:pt x="101913" y="175260"/>
                  <a:pt x="111760" y="180340"/>
                  <a:pt x="121920" y="182880"/>
                </a:cubicBezTo>
                <a:cubicBezTo>
                  <a:pt x="132080" y="180340"/>
                  <a:pt x="144222" y="181802"/>
                  <a:pt x="152400" y="175260"/>
                </a:cubicBezTo>
                <a:cubicBezTo>
                  <a:pt x="158672" y="170242"/>
                  <a:pt x="153484" y="157069"/>
                  <a:pt x="160020" y="152400"/>
                </a:cubicBezTo>
                <a:cubicBezTo>
                  <a:pt x="173092" y="143063"/>
                  <a:pt x="190500" y="142240"/>
                  <a:pt x="205740" y="137160"/>
                </a:cubicBezTo>
                <a:cubicBezTo>
                  <a:pt x="263199" y="118007"/>
                  <a:pt x="192374" y="143843"/>
                  <a:pt x="251460" y="114300"/>
                </a:cubicBezTo>
                <a:cubicBezTo>
                  <a:pt x="258644" y="110708"/>
                  <a:pt x="266700" y="109220"/>
                  <a:pt x="274320" y="106680"/>
                </a:cubicBezTo>
                <a:cubicBezTo>
                  <a:pt x="335280" y="109220"/>
                  <a:pt x="396354" y="109793"/>
                  <a:pt x="457200" y="114300"/>
                </a:cubicBezTo>
                <a:cubicBezTo>
                  <a:pt x="507076" y="117995"/>
                  <a:pt x="453044" y="130925"/>
                  <a:pt x="502920" y="114300"/>
                </a:cubicBezTo>
                <a:cubicBezTo>
                  <a:pt x="505460" y="106680"/>
                  <a:pt x="506948" y="98624"/>
                  <a:pt x="510540" y="91440"/>
                </a:cubicBezTo>
                <a:cubicBezTo>
                  <a:pt x="514636" y="83249"/>
                  <a:pt x="522061" y="76949"/>
                  <a:pt x="525780" y="68580"/>
                </a:cubicBezTo>
                <a:cubicBezTo>
                  <a:pt x="532304" y="53900"/>
                  <a:pt x="535940" y="38100"/>
                  <a:pt x="541020" y="22860"/>
                </a:cubicBezTo>
                <a:lnTo>
                  <a:pt x="548640" y="0"/>
                </a:lnTo>
                <a:cubicBezTo>
                  <a:pt x="584200" y="2540"/>
                  <a:pt x="619914" y="3455"/>
                  <a:pt x="655320" y="7620"/>
                </a:cubicBezTo>
                <a:cubicBezTo>
                  <a:pt x="684573" y="11061"/>
                  <a:pt x="698771" y="31293"/>
                  <a:pt x="708660" y="60960"/>
                </a:cubicBezTo>
                <a:cubicBezTo>
                  <a:pt x="711200" y="68580"/>
                  <a:pt x="712688" y="76636"/>
                  <a:pt x="716280" y="83820"/>
                </a:cubicBezTo>
                <a:cubicBezTo>
                  <a:pt x="720376" y="92011"/>
                  <a:pt x="726440" y="99060"/>
                  <a:pt x="731520" y="106680"/>
                </a:cubicBezTo>
                <a:cubicBezTo>
                  <a:pt x="749020" y="176680"/>
                  <a:pt x="723729" y="104561"/>
                  <a:pt x="762000" y="152400"/>
                </a:cubicBezTo>
                <a:cubicBezTo>
                  <a:pt x="804064" y="204980"/>
                  <a:pt x="726966" y="146824"/>
                  <a:pt x="792480" y="190500"/>
                </a:cubicBezTo>
                <a:cubicBezTo>
                  <a:pt x="797560" y="198120"/>
                  <a:pt x="801244" y="206884"/>
                  <a:pt x="807720" y="213360"/>
                </a:cubicBezTo>
                <a:cubicBezTo>
                  <a:pt x="814196" y="219836"/>
                  <a:pt x="824859" y="221449"/>
                  <a:pt x="830580" y="228600"/>
                </a:cubicBezTo>
                <a:cubicBezTo>
                  <a:pt x="835598" y="234872"/>
                  <a:pt x="832520" y="245780"/>
                  <a:pt x="838200" y="251460"/>
                </a:cubicBezTo>
                <a:cubicBezTo>
                  <a:pt x="851152" y="264412"/>
                  <a:pt x="868680" y="271780"/>
                  <a:pt x="883920" y="281940"/>
                </a:cubicBezTo>
                <a:lnTo>
                  <a:pt x="906780" y="297180"/>
                </a:lnTo>
                <a:cubicBezTo>
                  <a:pt x="911860" y="304800"/>
                  <a:pt x="917924" y="311849"/>
                  <a:pt x="922020" y="320040"/>
                </a:cubicBezTo>
                <a:cubicBezTo>
                  <a:pt x="925612" y="327224"/>
                  <a:pt x="923960" y="337220"/>
                  <a:pt x="929640" y="342900"/>
                </a:cubicBezTo>
                <a:cubicBezTo>
                  <a:pt x="935320" y="348580"/>
                  <a:pt x="945316" y="346928"/>
                  <a:pt x="952500" y="350520"/>
                </a:cubicBezTo>
                <a:cubicBezTo>
                  <a:pt x="985727" y="367134"/>
                  <a:pt x="971933" y="376085"/>
                  <a:pt x="1021080" y="381000"/>
                </a:cubicBezTo>
                <a:cubicBezTo>
                  <a:pt x="1112654" y="390157"/>
                  <a:pt x="1072101" y="384423"/>
                  <a:pt x="1143000" y="396240"/>
                </a:cubicBezTo>
                <a:cubicBezTo>
                  <a:pt x="1145540" y="403860"/>
                  <a:pt x="1148672" y="411308"/>
                  <a:pt x="1150620" y="419100"/>
                </a:cubicBezTo>
                <a:cubicBezTo>
                  <a:pt x="1153761" y="431665"/>
                  <a:pt x="1150289" y="446977"/>
                  <a:pt x="1158240" y="457200"/>
                </a:cubicBezTo>
                <a:cubicBezTo>
                  <a:pt x="1169485" y="471658"/>
                  <a:pt x="1203960" y="487680"/>
                  <a:pt x="1203960" y="487680"/>
                </a:cubicBezTo>
                <a:cubicBezTo>
                  <a:pt x="1207530" y="509102"/>
                  <a:pt x="1202018" y="544587"/>
                  <a:pt x="1234440" y="548640"/>
                </a:cubicBezTo>
                <a:cubicBezTo>
                  <a:pt x="1247291" y="550246"/>
                  <a:pt x="1259840" y="543560"/>
                  <a:pt x="1272540" y="541020"/>
                </a:cubicBezTo>
                <a:cubicBezTo>
                  <a:pt x="1280160" y="535940"/>
                  <a:pt x="1287209" y="529876"/>
                  <a:pt x="1295400" y="525780"/>
                </a:cubicBezTo>
                <a:cubicBezTo>
                  <a:pt x="1329400" y="508780"/>
                  <a:pt x="1351827" y="521517"/>
                  <a:pt x="1394460" y="525780"/>
                </a:cubicBezTo>
                <a:cubicBezTo>
                  <a:pt x="1420069" y="602606"/>
                  <a:pt x="1380996" y="483439"/>
                  <a:pt x="1409700" y="579120"/>
                </a:cubicBezTo>
                <a:cubicBezTo>
                  <a:pt x="1414316" y="594507"/>
                  <a:pt x="1419860" y="609600"/>
                  <a:pt x="1424940" y="624840"/>
                </a:cubicBezTo>
                <a:lnTo>
                  <a:pt x="1432560" y="647700"/>
                </a:lnTo>
                <a:lnTo>
                  <a:pt x="1440180" y="670560"/>
                </a:lnTo>
                <a:cubicBezTo>
                  <a:pt x="1442720" y="688340"/>
                  <a:pt x="1444278" y="706288"/>
                  <a:pt x="1447800" y="723900"/>
                </a:cubicBezTo>
                <a:cubicBezTo>
                  <a:pt x="1449375" y="731776"/>
                  <a:pt x="1456740" y="738837"/>
                  <a:pt x="1455420" y="746760"/>
                </a:cubicBezTo>
                <a:cubicBezTo>
                  <a:pt x="1453914" y="755793"/>
                  <a:pt x="1445260" y="762000"/>
                  <a:pt x="1440180" y="769620"/>
                </a:cubicBezTo>
                <a:cubicBezTo>
                  <a:pt x="1423364" y="853698"/>
                  <a:pt x="1448569" y="774374"/>
                  <a:pt x="1409700" y="822960"/>
                </a:cubicBezTo>
                <a:cubicBezTo>
                  <a:pt x="1404682" y="829232"/>
                  <a:pt x="1407760" y="840140"/>
                  <a:pt x="1402080" y="845820"/>
                </a:cubicBezTo>
                <a:cubicBezTo>
                  <a:pt x="1378384" y="869516"/>
                  <a:pt x="1348419" y="880230"/>
                  <a:pt x="1318260" y="891540"/>
                </a:cubicBezTo>
                <a:cubicBezTo>
                  <a:pt x="1310739" y="894360"/>
                  <a:pt x="1302584" y="895568"/>
                  <a:pt x="1295400" y="899160"/>
                </a:cubicBezTo>
                <a:cubicBezTo>
                  <a:pt x="1287209" y="903256"/>
                  <a:pt x="1280909" y="910681"/>
                  <a:pt x="1272540" y="914400"/>
                </a:cubicBezTo>
                <a:cubicBezTo>
                  <a:pt x="1257860" y="920924"/>
                  <a:pt x="1241188" y="922456"/>
                  <a:pt x="1226820" y="929640"/>
                </a:cubicBezTo>
                <a:lnTo>
                  <a:pt x="1196340" y="944880"/>
                </a:lnTo>
                <a:cubicBezTo>
                  <a:pt x="1177187" y="1002339"/>
                  <a:pt x="1205251" y="933741"/>
                  <a:pt x="1165860" y="982980"/>
                </a:cubicBezTo>
                <a:cubicBezTo>
                  <a:pt x="1160842" y="989252"/>
                  <a:pt x="1164776" y="1001171"/>
                  <a:pt x="1158240" y="1005840"/>
                </a:cubicBezTo>
                <a:cubicBezTo>
                  <a:pt x="1145168" y="1015177"/>
                  <a:pt x="1127760" y="1016000"/>
                  <a:pt x="1112520" y="1021080"/>
                </a:cubicBezTo>
                <a:cubicBezTo>
                  <a:pt x="1079725" y="1032012"/>
                  <a:pt x="1097452" y="1026752"/>
                  <a:pt x="1059180" y="1036320"/>
                </a:cubicBezTo>
                <a:cubicBezTo>
                  <a:pt x="1054100" y="1043940"/>
                  <a:pt x="1048036" y="1050989"/>
                  <a:pt x="1043940" y="1059180"/>
                </a:cubicBezTo>
                <a:cubicBezTo>
                  <a:pt x="1040348" y="1066364"/>
                  <a:pt x="1040221" y="1075019"/>
                  <a:pt x="1036320" y="1082040"/>
                </a:cubicBezTo>
                <a:cubicBezTo>
                  <a:pt x="1027425" y="1098051"/>
                  <a:pt x="1011632" y="1110384"/>
                  <a:pt x="1005840" y="1127760"/>
                </a:cubicBezTo>
                <a:cubicBezTo>
                  <a:pt x="1000760" y="1143000"/>
                  <a:pt x="997784" y="1159112"/>
                  <a:pt x="990600" y="1173480"/>
                </a:cubicBezTo>
                <a:cubicBezTo>
                  <a:pt x="985520" y="1183640"/>
                  <a:pt x="979579" y="1193413"/>
                  <a:pt x="975360" y="1203960"/>
                </a:cubicBezTo>
                <a:cubicBezTo>
                  <a:pt x="969394" y="1218875"/>
                  <a:pt x="969031" y="1236314"/>
                  <a:pt x="960120" y="1249680"/>
                </a:cubicBezTo>
                <a:cubicBezTo>
                  <a:pt x="955040" y="1257300"/>
                  <a:pt x="948976" y="1264349"/>
                  <a:pt x="944880" y="1272540"/>
                </a:cubicBezTo>
                <a:cubicBezTo>
                  <a:pt x="932429" y="1297442"/>
                  <a:pt x="937182" y="1328806"/>
                  <a:pt x="914400" y="1348740"/>
                </a:cubicBezTo>
                <a:cubicBezTo>
                  <a:pt x="850331" y="1404801"/>
                  <a:pt x="891172" y="1364164"/>
                  <a:pt x="845820" y="1386840"/>
                </a:cubicBezTo>
                <a:cubicBezTo>
                  <a:pt x="786734" y="1416383"/>
                  <a:pt x="857559" y="1390547"/>
                  <a:pt x="800100" y="1409700"/>
                </a:cubicBezTo>
                <a:cubicBezTo>
                  <a:pt x="782320" y="1407160"/>
                  <a:pt x="763173" y="1409374"/>
                  <a:pt x="746760" y="1402080"/>
                </a:cubicBezTo>
                <a:cubicBezTo>
                  <a:pt x="738391" y="1398361"/>
                  <a:pt x="738671" y="1384941"/>
                  <a:pt x="731520" y="1379220"/>
                </a:cubicBezTo>
                <a:cubicBezTo>
                  <a:pt x="725248" y="1374202"/>
                  <a:pt x="716280" y="1374140"/>
                  <a:pt x="708660" y="1371600"/>
                </a:cubicBezTo>
                <a:cubicBezTo>
                  <a:pt x="691500" y="1320120"/>
                  <a:pt x="715298" y="1375921"/>
                  <a:pt x="678180" y="1333500"/>
                </a:cubicBezTo>
                <a:cubicBezTo>
                  <a:pt x="666119" y="1319716"/>
                  <a:pt x="657860" y="1303020"/>
                  <a:pt x="647700" y="1287780"/>
                </a:cubicBezTo>
                <a:lnTo>
                  <a:pt x="632460" y="1264920"/>
                </a:lnTo>
                <a:cubicBezTo>
                  <a:pt x="629920" y="1249680"/>
                  <a:pt x="631750" y="1233019"/>
                  <a:pt x="624840" y="1219200"/>
                </a:cubicBezTo>
                <a:cubicBezTo>
                  <a:pt x="620744" y="1211009"/>
                  <a:pt x="608011" y="1210852"/>
                  <a:pt x="601980" y="1203960"/>
                </a:cubicBezTo>
                <a:cubicBezTo>
                  <a:pt x="589919" y="1190176"/>
                  <a:pt x="577292" y="1175616"/>
                  <a:pt x="571500" y="1158240"/>
                </a:cubicBezTo>
                <a:cubicBezTo>
                  <a:pt x="568960" y="1150620"/>
                  <a:pt x="569560" y="1141060"/>
                  <a:pt x="563880" y="1135380"/>
                </a:cubicBezTo>
                <a:cubicBezTo>
                  <a:pt x="558200" y="1129700"/>
                  <a:pt x="548640" y="1130300"/>
                  <a:pt x="541020" y="1127760"/>
                </a:cubicBezTo>
                <a:cubicBezTo>
                  <a:pt x="523240" y="1130300"/>
                  <a:pt x="503744" y="1127348"/>
                  <a:pt x="487680" y="1135380"/>
                </a:cubicBezTo>
                <a:cubicBezTo>
                  <a:pt x="480496" y="1138972"/>
                  <a:pt x="485078" y="1151968"/>
                  <a:pt x="480060" y="1158240"/>
                </a:cubicBezTo>
                <a:cubicBezTo>
                  <a:pt x="466904" y="1174685"/>
                  <a:pt x="445023" y="1176524"/>
                  <a:pt x="426720" y="1181100"/>
                </a:cubicBezTo>
                <a:cubicBezTo>
                  <a:pt x="411480" y="1191260"/>
                  <a:pt x="399067" y="1214591"/>
                  <a:pt x="381000" y="1211580"/>
                </a:cubicBezTo>
                <a:cubicBezTo>
                  <a:pt x="365760" y="1209040"/>
                  <a:pt x="350624" y="1205765"/>
                  <a:pt x="335280" y="1203960"/>
                </a:cubicBezTo>
                <a:cubicBezTo>
                  <a:pt x="307417" y="1200682"/>
                  <a:pt x="279376" y="1199132"/>
                  <a:pt x="251460" y="1196340"/>
                </a:cubicBezTo>
                <a:cubicBezTo>
                  <a:pt x="228573" y="1194051"/>
                  <a:pt x="205740" y="1191260"/>
                  <a:pt x="182880" y="1188720"/>
                </a:cubicBezTo>
                <a:cubicBezTo>
                  <a:pt x="175346" y="1190227"/>
                  <a:pt x="119787" y="1197863"/>
                  <a:pt x="114300" y="1211580"/>
                </a:cubicBezTo>
                <a:cubicBezTo>
                  <a:pt x="110899" y="1220083"/>
                  <a:pt x="136016" y="1227964"/>
                  <a:pt x="129540" y="1234440"/>
                </a:cubicBezTo>
                <a:cubicBezTo>
                  <a:pt x="123064" y="1240916"/>
                  <a:pt x="115635" y="1221119"/>
                  <a:pt x="106680" y="1219200"/>
                </a:cubicBezTo>
                <a:cubicBezTo>
                  <a:pt x="79248" y="1213322"/>
                  <a:pt x="50800" y="1214120"/>
                  <a:pt x="22860" y="1211580"/>
                </a:cubicBezTo>
                <a:cubicBezTo>
                  <a:pt x="20320" y="1203960"/>
                  <a:pt x="7208" y="1188720"/>
                  <a:pt x="15240" y="1188720"/>
                </a:cubicBezTo>
                <a:cubicBezTo>
                  <a:pt x="24398" y="1188720"/>
                  <a:pt x="21792" y="1208684"/>
                  <a:pt x="30480" y="1211580"/>
                </a:cubicBezTo>
                <a:cubicBezTo>
                  <a:pt x="40415" y="1214892"/>
                  <a:pt x="50737" y="1206232"/>
                  <a:pt x="60960" y="1203960"/>
                </a:cubicBezTo>
                <a:cubicBezTo>
                  <a:pt x="73603" y="1201150"/>
                  <a:pt x="86360" y="1198880"/>
                  <a:pt x="99060" y="1196340"/>
                </a:cubicBezTo>
                <a:cubicBezTo>
                  <a:pt x="89168" y="1127097"/>
                  <a:pt x="97120" y="1160039"/>
                  <a:pt x="76200" y="1097280"/>
                </a:cubicBezTo>
                <a:lnTo>
                  <a:pt x="68580" y="1074420"/>
                </a:lnTo>
                <a:cubicBezTo>
                  <a:pt x="71120" y="1064260"/>
                  <a:pt x="71516" y="1053307"/>
                  <a:pt x="76200" y="1043940"/>
                </a:cubicBezTo>
                <a:cubicBezTo>
                  <a:pt x="84391" y="1027557"/>
                  <a:pt x="96520" y="1013460"/>
                  <a:pt x="106680" y="998220"/>
                </a:cubicBezTo>
                <a:cubicBezTo>
                  <a:pt x="111760" y="990600"/>
                  <a:pt x="119024" y="984048"/>
                  <a:pt x="121920" y="975360"/>
                </a:cubicBezTo>
                <a:lnTo>
                  <a:pt x="137160" y="929640"/>
                </a:lnTo>
                <a:cubicBezTo>
                  <a:pt x="135839" y="920392"/>
                  <a:pt x="120535" y="870065"/>
                  <a:pt x="137160" y="853440"/>
                </a:cubicBezTo>
                <a:cubicBezTo>
                  <a:pt x="142840" y="847760"/>
                  <a:pt x="152400" y="848360"/>
                  <a:pt x="160020" y="845820"/>
                </a:cubicBezTo>
                <a:cubicBezTo>
                  <a:pt x="175402" y="799674"/>
                  <a:pt x="187245" y="785433"/>
                  <a:pt x="167640" y="731520"/>
                </a:cubicBezTo>
                <a:cubicBezTo>
                  <a:pt x="163565" y="720314"/>
                  <a:pt x="131131" y="711730"/>
                  <a:pt x="121920" y="708660"/>
                </a:cubicBezTo>
                <a:cubicBezTo>
                  <a:pt x="116840" y="701040"/>
                  <a:pt x="110776" y="693991"/>
                  <a:pt x="106680" y="685800"/>
                </a:cubicBezTo>
                <a:cubicBezTo>
                  <a:pt x="103088" y="678616"/>
                  <a:pt x="103991" y="669280"/>
                  <a:pt x="99060" y="662940"/>
                </a:cubicBezTo>
                <a:cubicBezTo>
                  <a:pt x="70955" y="626804"/>
                  <a:pt x="61036" y="622351"/>
                  <a:pt x="30480" y="601980"/>
                </a:cubicBezTo>
                <a:cubicBezTo>
                  <a:pt x="27940" y="589280"/>
                  <a:pt x="22860" y="576832"/>
                  <a:pt x="22860" y="563880"/>
                </a:cubicBezTo>
                <a:cubicBezTo>
                  <a:pt x="22860" y="497102"/>
                  <a:pt x="23998" y="499506"/>
                  <a:pt x="38100" y="457200"/>
                </a:cubicBezTo>
                <a:cubicBezTo>
                  <a:pt x="35560" y="436880"/>
                  <a:pt x="38085" y="415253"/>
                  <a:pt x="30480" y="396240"/>
                </a:cubicBezTo>
                <a:cubicBezTo>
                  <a:pt x="27079" y="387737"/>
                  <a:pt x="13341" y="388151"/>
                  <a:pt x="7620" y="381000"/>
                </a:cubicBezTo>
                <a:cubicBezTo>
                  <a:pt x="2602" y="374728"/>
                  <a:pt x="2540" y="365760"/>
                  <a:pt x="0" y="358140"/>
                </a:cubicBezTo>
                <a:cubicBezTo>
                  <a:pt x="2540" y="345440"/>
                  <a:pt x="1194" y="331285"/>
                  <a:pt x="7620" y="320040"/>
                </a:cubicBezTo>
                <a:cubicBezTo>
                  <a:pt x="12164" y="312089"/>
                  <a:pt x="28842" y="313810"/>
                  <a:pt x="30480" y="304800"/>
                </a:cubicBezTo>
                <a:cubicBezTo>
                  <a:pt x="34594" y="282170"/>
                  <a:pt x="25400" y="259080"/>
                  <a:pt x="22860" y="236220"/>
                </a:cubicBezTo>
                <a:cubicBezTo>
                  <a:pt x="42661" y="137217"/>
                  <a:pt x="7461" y="249230"/>
                  <a:pt x="175260" y="190500"/>
                </a:cubicBezTo>
                <a:cubicBezTo>
                  <a:pt x="189843" y="185396"/>
                  <a:pt x="174310" y="157635"/>
                  <a:pt x="182880" y="144780"/>
                </a:cubicBezTo>
                <a:cubicBezTo>
                  <a:pt x="187107" y="138440"/>
                  <a:pt x="198120" y="144780"/>
                  <a:pt x="205740" y="144780"/>
                </a:cubicBezTo>
              </a:path>
            </a:pathLst>
          </a:custGeom>
          <a:solidFill>
            <a:srgbClr val="9ED561">
              <a:alpha val="54000"/>
            </a:srgbClr>
          </a:solidFill>
          <a:ln w="76200" cap="flat" cmpd="sng" algn="ctr">
            <a:solidFill>
              <a:srgbClr val="9ED56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91" tIns="32146" rIns="64291" bIns="32146" numCol="1" rtlCol="0" anchor="t" anchorCtr="0" compatLnSpc="1">
            <a:prstTxWarp prst="textNoShape">
              <a:avLst/>
            </a:prstTxWarp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5" name="Csoportba foglalás 14"/>
          <p:cNvGrpSpPr/>
          <p:nvPr/>
        </p:nvGrpSpPr>
        <p:grpSpPr>
          <a:xfrm>
            <a:off x="5317297" y="763264"/>
            <a:ext cx="3795782" cy="3224068"/>
            <a:chOff x="7562378" y="1085531"/>
            <a:chExt cx="5398445" cy="4585341"/>
          </a:xfrm>
        </p:grpSpPr>
        <p:sp>
          <p:nvSpPr>
            <p:cNvPr id="159" name="Szabadkézi sokszög 158"/>
            <p:cNvSpPr/>
            <p:nvPr/>
          </p:nvSpPr>
          <p:spPr bwMode="auto">
            <a:xfrm>
              <a:off x="7562378" y="1085531"/>
              <a:ext cx="5398445" cy="4585341"/>
            </a:xfrm>
            <a:custGeom>
              <a:avLst/>
              <a:gdLst>
                <a:gd name="connsiteX0" fmla="*/ 0 w 5398445"/>
                <a:gd name="connsiteY0" fmla="*/ 1079500 h 4585341"/>
                <a:gd name="connsiteX1" fmla="*/ 88900 w 5398445"/>
                <a:gd name="connsiteY1" fmla="*/ 1193800 h 4585341"/>
                <a:gd name="connsiteX2" fmla="*/ 165100 w 5398445"/>
                <a:gd name="connsiteY2" fmla="*/ 1219200 h 4585341"/>
                <a:gd name="connsiteX3" fmla="*/ 254000 w 5398445"/>
                <a:gd name="connsiteY3" fmla="*/ 1257300 h 4585341"/>
                <a:gd name="connsiteX4" fmla="*/ 266700 w 5398445"/>
                <a:gd name="connsiteY4" fmla="*/ 1295400 h 4585341"/>
                <a:gd name="connsiteX5" fmla="*/ 304800 w 5398445"/>
                <a:gd name="connsiteY5" fmla="*/ 1308100 h 4585341"/>
                <a:gd name="connsiteX6" fmla="*/ 342900 w 5398445"/>
                <a:gd name="connsiteY6" fmla="*/ 1333500 h 4585341"/>
                <a:gd name="connsiteX7" fmla="*/ 419100 w 5398445"/>
                <a:gd name="connsiteY7" fmla="*/ 1358900 h 4585341"/>
                <a:gd name="connsiteX8" fmla="*/ 482600 w 5398445"/>
                <a:gd name="connsiteY8" fmla="*/ 1270000 h 4585341"/>
                <a:gd name="connsiteX9" fmla="*/ 495300 w 5398445"/>
                <a:gd name="connsiteY9" fmla="*/ 1231900 h 4585341"/>
                <a:gd name="connsiteX10" fmla="*/ 558800 w 5398445"/>
                <a:gd name="connsiteY10" fmla="*/ 1244600 h 4585341"/>
                <a:gd name="connsiteX11" fmla="*/ 622300 w 5398445"/>
                <a:gd name="connsiteY11" fmla="*/ 1270000 h 4585341"/>
                <a:gd name="connsiteX12" fmla="*/ 647700 w 5398445"/>
                <a:gd name="connsiteY12" fmla="*/ 1231900 h 4585341"/>
                <a:gd name="connsiteX13" fmla="*/ 749300 w 5398445"/>
                <a:gd name="connsiteY13" fmla="*/ 1193800 h 4585341"/>
                <a:gd name="connsiteX14" fmla="*/ 838200 w 5398445"/>
                <a:gd name="connsiteY14" fmla="*/ 1206500 h 4585341"/>
                <a:gd name="connsiteX15" fmla="*/ 812800 w 5398445"/>
                <a:gd name="connsiteY15" fmla="*/ 1282700 h 4585341"/>
                <a:gd name="connsiteX16" fmla="*/ 825500 w 5398445"/>
                <a:gd name="connsiteY16" fmla="*/ 1346200 h 4585341"/>
                <a:gd name="connsiteX17" fmla="*/ 850900 w 5398445"/>
                <a:gd name="connsiteY17" fmla="*/ 1422400 h 4585341"/>
                <a:gd name="connsiteX18" fmla="*/ 825500 w 5398445"/>
                <a:gd name="connsiteY18" fmla="*/ 1524000 h 4585341"/>
                <a:gd name="connsiteX19" fmla="*/ 812800 w 5398445"/>
                <a:gd name="connsiteY19" fmla="*/ 1574800 h 4585341"/>
                <a:gd name="connsiteX20" fmla="*/ 787400 w 5398445"/>
                <a:gd name="connsiteY20" fmla="*/ 1651000 h 4585341"/>
                <a:gd name="connsiteX21" fmla="*/ 838200 w 5398445"/>
                <a:gd name="connsiteY21" fmla="*/ 1701800 h 4585341"/>
                <a:gd name="connsiteX22" fmla="*/ 863600 w 5398445"/>
                <a:gd name="connsiteY22" fmla="*/ 1739900 h 4585341"/>
                <a:gd name="connsiteX23" fmla="*/ 850900 w 5398445"/>
                <a:gd name="connsiteY23" fmla="*/ 1828800 h 4585341"/>
                <a:gd name="connsiteX24" fmla="*/ 800100 w 5398445"/>
                <a:gd name="connsiteY24" fmla="*/ 1841500 h 4585341"/>
                <a:gd name="connsiteX25" fmla="*/ 762000 w 5398445"/>
                <a:gd name="connsiteY25" fmla="*/ 1854200 h 4585341"/>
                <a:gd name="connsiteX26" fmla="*/ 812800 w 5398445"/>
                <a:gd name="connsiteY26" fmla="*/ 1905000 h 4585341"/>
                <a:gd name="connsiteX27" fmla="*/ 838200 w 5398445"/>
                <a:gd name="connsiteY27" fmla="*/ 1955800 h 4585341"/>
                <a:gd name="connsiteX28" fmla="*/ 850900 w 5398445"/>
                <a:gd name="connsiteY28" fmla="*/ 2044700 h 4585341"/>
                <a:gd name="connsiteX29" fmla="*/ 863600 w 5398445"/>
                <a:gd name="connsiteY29" fmla="*/ 2082800 h 4585341"/>
                <a:gd name="connsiteX30" fmla="*/ 876300 w 5398445"/>
                <a:gd name="connsiteY30" fmla="*/ 2133600 h 4585341"/>
                <a:gd name="connsiteX31" fmla="*/ 889000 w 5398445"/>
                <a:gd name="connsiteY31" fmla="*/ 2171700 h 4585341"/>
                <a:gd name="connsiteX32" fmla="*/ 927100 w 5398445"/>
                <a:gd name="connsiteY32" fmla="*/ 2197100 h 4585341"/>
                <a:gd name="connsiteX33" fmla="*/ 965200 w 5398445"/>
                <a:gd name="connsiteY33" fmla="*/ 2273300 h 4585341"/>
                <a:gd name="connsiteX34" fmla="*/ 1003300 w 5398445"/>
                <a:gd name="connsiteY34" fmla="*/ 2286000 h 4585341"/>
                <a:gd name="connsiteX35" fmla="*/ 1016000 w 5398445"/>
                <a:gd name="connsiteY35" fmla="*/ 2400300 h 4585341"/>
                <a:gd name="connsiteX36" fmla="*/ 1104900 w 5398445"/>
                <a:gd name="connsiteY36" fmla="*/ 2438400 h 4585341"/>
                <a:gd name="connsiteX37" fmla="*/ 1143000 w 5398445"/>
                <a:gd name="connsiteY37" fmla="*/ 2451100 h 4585341"/>
                <a:gd name="connsiteX38" fmla="*/ 1219200 w 5398445"/>
                <a:gd name="connsiteY38" fmla="*/ 2489200 h 4585341"/>
                <a:gd name="connsiteX39" fmla="*/ 1320800 w 5398445"/>
                <a:gd name="connsiteY39" fmla="*/ 2514600 h 4585341"/>
                <a:gd name="connsiteX40" fmla="*/ 1358900 w 5398445"/>
                <a:gd name="connsiteY40" fmla="*/ 2540000 h 4585341"/>
                <a:gd name="connsiteX41" fmla="*/ 1409700 w 5398445"/>
                <a:gd name="connsiteY41" fmla="*/ 2527300 h 4585341"/>
                <a:gd name="connsiteX42" fmla="*/ 1498600 w 5398445"/>
                <a:gd name="connsiteY42" fmla="*/ 2501900 h 4585341"/>
                <a:gd name="connsiteX43" fmla="*/ 1524000 w 5398445"/>
                <a:gd name="connsiteY43" fmla="*/ 2540000 h 4585341"/>
                <a:gd name="connsiteX44" fmla="*/ 1498600 w 5398445"/>
                <a:gd name="connsiteY44" fmla="*/ 2578100 h 4585341"/>
                <a:gd name="connsiteX45" fmla="*/ 1485900 w 5398445"/>
                <a:gd name="connsiteY45" fmla="*/ 2616200 h 4585341"/>
                <a:gd name="connsiteX46" fmla="*/ 1511300 w 5398445"/>
                <a:gd name="connsiteY46" fmla="*/ 2654300 h 4585341"/>
                <a:gd name="connsiteX47" fmla="*/ 1536700 w 5398445"/>
                <a:gd name="connsiteY47" fmla="*/ 2730500 h 4585341"/>
                <a:gd name="connsiteX48" fmla="*/ 1651000 w 5398445"/>
                <a:gd name="connsiteY48" fmla="*/ 2768600 h 4585341"/>
                <a:gd name="connsiteX49" fmla="*/ 1689100 w 5398445"/>
                <a:gd name="connsiteY49" fmla="*/ 2781300 h 4585341"/>
                <a:gd name="connsiteX50" fmla="*/ 1739900 w 5398445"/>
                <a:gd name="connsiteY50" fmla="*/ 2794000 h 4585341"/>
                <a:gd name="connsiteX51" fmla="*/ 1752600 w 5398445"/>
                <a:gd name="connsiteY51" fmla="*/ 2832100 h 4585341"/>
                <a:gd name="connsiteX52" fmla="*/ 1778000 w 5398445"/>
                <a:gd name="connsiteY52" fmla="*/ 2870200 h 4585341"/>
                <a:gd name="connsiteX53" fmla="*/ 1790700 w 5398445"/>
                <a:gd name="connsiteY53" fmla="*/ 2959100 h 4585341"/>
                <a:gd name="connsiteX54" fmla="*/ 1816100 w 5398445"/>
                <a:gd name="connsiteY54" fmla="*/ 3098800 h 4585341"/>
                <a:gd name="connsiteX55" fmla="*/ 1828800 w 5398445"/>
                <a:gd name="connsiteY55" fmla="*/ 3200400 h 4585341"/>
                <a:gd name="connsiteX56" fmla="*/ 1854200 w 5398445"/>
                <a:gd name="connsiteY56" fmla="*/ 3429000 h 4585341"/>
                <a:gd name="connsiteX57" fmla="*/ 1879600 w 5398445"/>
                <a:gd name="connsiteY57" fmla="*/ 3505200 h 4585341"/>
                <a:gd name="connsiteX58" fmla="*/ 1892300 w 5398445"/>
                <a:gd name="connsiteY58" fmla="*/ 3543300 h 4585341"/>
                <a:gd name="connsiteX59" fmla="*/ 1879600 w 5398445"/>
                <a:gd name="connsiteY59" fmla="*/ 3581400 h 4585341"/>
                <a:gd name="connsiteX60" fmla="*/ 1866900 w 5398445"/>
                <a:gd name="connsiteY60" fmla="*/ 3670300 h 4585341"/>
                <a:gd name="connsiteX61" fmla="*/ 1841500 w 5398445"/>
                <a:gd name="connsiteY61" fmla="*/ 3708400 h 4585341"/>
                <a:gd name="connsiteX62" fmla="*/ 1854200 w 5398445"/>
                <a:gd name="connsiteY62" fmla="*/ 3771900 h 4585341"/>
                <a:gd name="connsiteX63" fmla="*/ 1930400 w 5398445"/>
                <a:gd name="connsiteY63" fmla="*/ 3797300 h 4585341"/>
                <a:gd name="connsiteX64" fmla="*/ 1968500 w 5398445"/>
                <a:gd name="connsiteY64" fmla="*/ 3822700 h 4585341"/>
                <a:gd name="connsiteX65" fmla="*/ 2044700 w 5398445"/>
                <a:gd name="connsiteY65" fmla="*/ 3848100 h 4585341"/>
                <a:gd name="connsiteX66" fmla="*/ 2082800 w 5398445"/>
                <a:gd name="connsiteY66" fmla="*/ 3860800 h 4585341"/>
                <a:gd name="connsiteX67" fmla="*/ 2095500 w 5398445"/>
                <a:gd name="connsiteY67" fmla="*/ 3898900 h 4585341"/>
                <a:gd name="connsiteX68" fmla="*/ 2171700 w 5398445"/>
                <a:gd name="connsiteY68" fmla="*/ 3937000 h 4585341"/>
                <a:gd name="connsiteX69" fmla="*/ 2209800 w 5398445"/>
                <a:gd name="connsiteY69" fmla="*/ 3962400 h 4585341"/>
                <a:gd name="connsiteX70" fmla="*/ 2286000 w 5398445"/>
                <a:gd name="connsiteY70" fmla="*/ 3987800 h 4585341"/>
                <a:gd name="connsiteX71" fmla="*/ 2324100 w 5398445"/>
                <a:gd name="connsiteY71" fmla="*/ 4000500 h 4585341"/>
                <a:gd name="connsiteX72" fmla="*/ 2374900 w 5398445"/>
                <a:gd name="connsiteY72" fmla="*/ 4025900 h 4585341"/>
                <a:gd name="connsiteX73" fmla="*/ 2362200 w 5398445"/>
                <a:gd name="connsiteY73" fmla="*/ 4089400 h 4585341"/>
                <a:gd name="connsiteX74" fmla="*/ 2324100 w 5398445"/>
                <a:gd name="connsiteY74" fmla="*/ 4178300 h 4585341"/>
                <a:gd name="connsiteX75" fmla="*/ 2286000 w 5398445"/>
                <a:gd name="connsiteY75" fmla="*/ 4191000 h 4585341"/>
                <a:gd name="connsiteX76" fmla="*/ 2273300 w 5398445"/>
                <a:gd name="connsiteY76" fmla="*/ 4343400 h 4585341"/>
                <a:gd name="connsiteX77" fmla="*/ 2286000 w 5398445"/>
                <a:gd name="connsiteY77" fmla="*/ 4381500 h 4585341"/>
                <a:gd name="connsiteX78" fmla="*/ 2362200 w 5398445"/>
                <a:gd name="connsiteY78" fmla="*/ 4419600 h 4585341"/>
                <a:gd name="connsiteX79" fmla="*/ 2400300 w 5398445"/>
                <a:gd name="connsiteY79" fmla="*/ 4457700 h 4585341"/>
                <a:gd name="connsiteX80" fmla="*/ 2552700 w 5398445"/>
                <a:gd name="connsiteY80" fmla="*/ 4495800 h 4585341"/>
                <a:gd name="connsiteX81" fmla="*/ 2667000 w 5398445"/>
                <a:gd name="connsiteY81" fmla="*/ 4546600 h 4585341"/>
                <a:gd name="connsiteX82" fmla="*/ 2743200 w 5398445"/>
                <a:gd name="connsiteY82" fmla="*/ 4584700 h 4585341"/>
                <a:gd name="connsiteX83" fmla="*/ 2870200 w 5398445"/>
                <a:gd name="connsiteY83" fmla="*/ 4572000 h 4585341"/>
                <a:gd name="connsiteX84" fmla="*/ 2882900 w 5398445"/>
                <a:gd name="connsiteY84" fmla="*/ 4495800 h 4585341"/>
                <a:gd name="connsiteX85" fmla="*/ 2959100 w 5398445"/>
                <a:gd name="connsiteY85" fmla="*/ 4445000 h 4585341"/>
                <a:gd name="connsiteX86" fmla="*/ 3035300 w 5398445"/>
                <a:gd name="connsiteY86" fmla="*/ 4419600 h 4585341"/>
                <a:gd name="connsiteX87" fmla="*/ 3060700 w 5398445"/>
                <a:gd name="connsiteY87" fmla="*/ 4381500 h 4585341"/>
                <a:gd name="connsiteX88" fmla="*/ 3098800 w 5398445"/>
                <a:gd name="connsiteY88" fmla="*/ 4305300 h 4585341"/>
                <a:gd name="connsiteX89" fmla="*/ 3136900 w 5398445"/>
                <a:gd name="connsiteY89" fmla="*/ 4279900 h 4585341"/>
                <a:gd name="connsiteX90" fmla="*/ 3187700 w 5398445"/>
                <a:gd name="connsiteY90" fmla="*/ 4203700 h 4585341"/>
                <a:gd name="connsiteX91" fmla="*/ 3200400 w 5398445"/>
                <a:gd name="connsiteY91" fmla="*/ 4165600 h 4585341"/>
                <a:gd name="connsiteX92" fmla="*/ 3225800 w 5398445"/>
                <a:gd name="connsiteY92" fmla="*/ 4127500 h 4585341"/>
                <a:gd name="connsiteX93" fmla="*/ 3302000 w 5398445"/>
                <a:gd name="connsiteY93" fmla="*/ 4102100 h 4585341"/>
                <a:gd name="connsiteX94" fmla="*/ 3340100 w 5398445"/>
                <a:gd name="connsiteY94" fmla="*/ 4089400 h 4585341"/>
                <a:gd name="connsiteX95" fmla="*/ 3378200 w 5398445"/>
                <a:gd name="connsiteY95" fmla="*/ 4013200 h 4585341"/>
                <a:gd name="connsiteX96" fmla="*/ 3390900 w 5398445"/>
                <a:gd name="connsiteY96" fmla="*/ 3937000 h 4585341"/>
                <a:gd name="connsiteX97" fmla="*/ 3429000 w 5398445"/>
                <a:gd name="connsiteY97" fmla="*/ 3924300 h 4585341"/>
                <a:gd name="connsiteX98" fmla="*/ 3467100 w 5398445"/>
                <a:gd name="connsiteY98" fmla="*/ 3898900 h 4585341"/>
                <a:gd name="connsiteX99" fmla="*/ 3492500 w 5398445"/>
                <a:gd name="connsiteY99" fmla="*/ 3860800 h 4585341"/>
                <a:gd name="connsiteX100" fmla="*/ 3441700 w 5398445"/>
                <a:gd name="connsiteY100" fmla="*/ 3784600 h 4585341"/>
                <a:gd name="connsiteX101" fmla="*/ 3467100 w 5398445"/>
                <a:gd name="connsiteY101" fmla="*/ 3695700 h 4585341"/>
                <a:gd name="connsiteX102" fmla="*/ 3492500 w 5398445"/>
                <a:gd name="connsiteY102" fmla="*/ 3657600 h 4585341"/>
                <a:gd name="connsiteX103" fmla="*/ 3517900 w 5398445"/>
                <a:gd name="connsiteY103" fmla="*/ 3492500 h 4585341"/>
                <a:gd name="connsiteX104" fmla="*/ 3543300 w 5398445"/>
                <a:gd name="connsiteY104" fmla="*/ 3454400 h 4585341"/>
                <a:gd name="connsiteX105" fmla="*/ 3556000 w 5398445"/>
                <a:gd name="connsiteY105" fmla="*/ 3416300 h 4585341"/>
                <a:gd name="connsiteX106" fmla="*/ 3670300 w 5398445"/>
                <a:gd name="connsiteY106" fmla="*/ 3352800 h 4585341"/>
                <a:gd name="connsiteX107" fmla="*/ 3746500 w 5398445"/>
                <a:gd name="connsiteY107" fmla="*/ 3340100 h 4585341"/>
                <a:gd name="connsiteX108" fmla="*/ 3771900 w 5398445"/>
                <a:gd name="connsiteY108" fmla="*/ 3263900 h 4585341"/>
                <a:gd name="connsiteX109" fmla="*/ 3784600 w 5398445"/>
                <a:gd name="connsiteY109" fmla="*/ 3225800 h 4585341"/>
                <a:gd name="connsiteX110" fmla="*/ 3771900 w 5398445"/>
                <a:gd name="connsiteY110" fmla="*/ 3124200 h 4585341"/>
                <a:gd name="connsiteX111" fmla="*/ 3733800 w 5398445"/>
                <a:gd name="connsiteY111" fmla="*/ 3111500 h 4585341"/>
                <a:gd name="connsiteX112" fmla="*/ 3721100 w 5398445"/>
                <a:gd name="connsiteY112" fmla="*/ 3009900 h 4585341"/>
                <a:gd name="connsiteX113" fmla="*/ 3733800 w 5398445"/>
                <a:gd name="connsiteY113" fmla="*/ 2946400 h 4585341"/>
                <a:gd name="connsiteX114" fmla="*/ 3886200 w 5398445"/>
                <a:gd name="connsiteY114" fmla="*/ 2870200 h 4585341"/>
                <a:gd name="connsiteX115" fmla="*/ 3962400 w 5398445"/>
                <a:gd name="connsiteY115" fmla="*/ 2844800 h 4585341"/>
                <a:gd name="connsiteX116" fmla="*/ 4000500 w 5398445"/>
                <a:gd name="connsiteY116" fmla="*/ 2832100 h 4585341"/>
                <a:gd name="connsiteX117" fmla="*/ 4025900 w 5398445"/>
                <a:gd name="connsiteY117" fmla="*/ 2794000 h 4585341"/>
                <a:gd name="connsiteX118" fmla="*/ 4064000 w 5398445"/>
                <a:gd name="connsiteY118" fmla="*/ 2755900 h 4585341"/>
                <a:gd name="connsiteX119" fmla="*/ 4089400 w 5398445"/>
                <a:gd name="connsiteY119" fmla="*/ 2679700 h 4585341"/>
                <a:gd name="connsiteX120" fmla="*/ 4127500 w 5398445"/>
                <a:gd name="connsiteY120" fmla="*/ 2590800 h 4585341"/>
                <a:gd name="connsiteX121" fmla="*/ 4152900 w 5398445"/>
                <a:gd name="connsiteY121" fmla="*/ 2514600 h 4585341"/>
                <a:gd name="connsiteX122" fmla="*/ 4191000 w 5398445"/>
                <a:gd name="connsiteY122" fmla="*/ 2438400 h 4585341"/>
                <a:gd name="connsiteX123" fmla="*/ 4267200 w 5398445"/>
                <a:gd name="connsiteY123" fmla="*/ 2400300 h 4585341"/>
                <a:gd name="connsiteX124" fmla="*/ 4305300 w 5398445"/>
                <a:gd name="connsiteY124" fmla="*/ 2374900 h 4585341"/>
                <a:gd name="connsiteX125" fmla="*/ 4318000 w 5398445"/>
                <a:gd name="connsiteY125" fmla="*/ 2336800 h 4585341"/>
                <a:gd name="connsiteX126" fmla="*/ 4356100 w 5398445"/>
                <a:gd name="connsiteY126" fmla="*/ 2324100 h 4585341"/>
                <a:gd name="connsiteX127" fmla="*/ 4508500 w 5398445"/>
                <a:gd name="connsiteY127" fmla="*/ 2336800 h 4585341"/>
                <a:gd name="connsiteX128" fmla="*/ 4559300 w 5398445"/>
                <a:gd name="connsiteY128" fmla="*/ 2324100 h 4585341"/>
                <a:gd name="connsiteX129" fmla="*/ 4597400 w 5398445"/>
                <a:gd name="connsiteY129" fmla="*/ 2197100 h 4585341"/>
                <a:gd name="connsiteX130" fmla="*/ 4648200 w 5398445"/>
                <a:gd name="connsiteY130" fmla="*/ 2184400 h 4585341"/>
                <a:gd name="connsiteX131" fmla="*/ 4775200 w 5398445"/>
                <a:gd name="connsiteY131" fmla="*/ 2197100 h 4585341"/>
                <a:gd name="connsiteX132" fmla="*/ 4813300 w 5398445"/>
                <a:gd name="connsiteY132" fmla="*/ 2222500 h 4585341"/>
                <a:gd name="connsiteX133" fmla="*/ 4902200 w 5398445"/>
                <a:gd name="connsiteY133" fmla="*/ 2247900 h 4585341"/>
                <a:gd name="connsiteX134" fmla="*/ 5041900 w 5398445"/>
                <a:gd name="connsiteY134" fmla="*/ 2235200 h 4585341"/>
                <a:gd name="connsiteX135" fmla="*/ 5080000 w 5398445"/>
                <a:gd name="connsiteY135" fmla="*/ 2120900 h 4585341"/>
                <a:gd name="connsiteX136" fmla="*/ 5105400 w 5398445"/>
                <a:gd name="connsiteY136" fmla="*/ 2082800 h 4585341"/>
                <a:gd name="connsiteX137" fmla="*/ 5181600 w 5398445"/>
                <a:gd name="connsiteY137" fmla="*/ 2044700 h 4585341"/>
                <a:gd name="connsiteX138" fmla="*/ 5219700 w 5398445"/>
                <a:gd name="connsiteY138" fmla="*/ 2019300 h 4585341"/>
                <a:gd name="connsiteX139" fmla="*/ 5232400 w 5398445"/>
                <a:gd name="connsiteY139" fmla="*/ 1981200 h 4585341"/>
                <a:gd name="connsiteX140" fmla="*/ 5219700 w 5398445"/>
                <a:gd name="connsiteY140" fmla="*/ 1930400 h 4585341"/>
                <a:gd name="connsiteX141" fmla="*/ 5257800 w 5398445"/>
                <a:gd name="connsiteY141" fmla="*/ 1905000 h 4585341"/>
                <a:gd name="connsiteX142" fmla="*/ 5334000 w 5398445"/>
                <a:gd name="connsiteY142" fmla="*/ 1879600 h 4585341"/>
                <a:gd name="connsiteX143" fmla="*/ 5359400 w 5398445"/>
                <a:gd name="connsiteY143" fmla="*/ 1841500 h 4585341"/>
                <a:gd name="connsiteX144" fmla="*/ 5397500 w 5398445"/>
                <a:gd name="connsiteY144" fmla="*/ 1828800 h 4585341"/>
                <a:gd name="connsiteX145" fmla="*/ 5372100 w 5398445"/>
                <a:gd name="connsiteY145" fmla="*/ 1651000 h 4585341"/>
                <a:gd name="connsiteX146" fmla="*/ 5346700 w 5398445"/>
                <a:gd name="connsiteY146" fmla="*/ 1612900 h 4585341"/>
                <a:gd name="connsiteX147" fmla="*/ 5372100 w 5398445"/>
                <a:gd name="connsiteY147" fmla="*/ 1511300 h 4585341"/>
                <a:gd name="connsiteX148" fmla="*/ 5397500 w 5398445"/>
                <a:gd name="connsiteY148" fmla="*/ 1435100 h 4585341"/>
                <a:gd name="connsiteX149" fmla="*/ 5359400 w 5398445"/>
                <a:gd name="connsiteY149" fmla="*/ 1358900 h 4585341"/>
                <a:gd name="connsiteX150" fmla="*/ 5270500 w 5398445"/>
                <a:gd name="connsiteY150" fmla="*/ 1308100 h 4585341"/>
                <a:gd name="connsiteX151" fmla="*/ 5232400 w 5398445"/>
                <a:gd name="connsiteY151" fmla="*/ 1282700 h 4585341"/>
                <a:gd name="connsiteX152" fmla="*/ 5156200 w 5398445"/>
                <a:gd name="connsiteY152" fmla="*/ 1257300 h 4585341"/>
                <a:gd name="connsiteX153" fmla="*/ 5118100 w 5398445"/>
                <a:gd name="connsiteY153" fmla="*/ 1244600 h 4585341"/>
                <a:gd name="connsiteX154" fmla="*/ 4991100 w 5398445"/>
                <a:gd name="connsiteY154" fmla="*/ 1295400 h 4585341"/>
                <a:gd name="connsiteX155" fmla="*/ 4889500 w 5398445"/>
                <a:gd name="connsiteY155" fmla="*/ 1282700 h 4585341"/>
                <a:gd name="connsiteX156" fmla="*/ 4864100 w 5398445"/>
                <a:gd name="connsiteY156" fmla="*/ 1206500 h 4585341"/>
                <a:gd name="connsiteX157" fmla="*/ 4826000 w 5398445"/>
                <a:gd name="connsiteY157" fmla="*/ 1092200 h 4585341"/>
                <a:gd name="connsiteX158" fmla="*/ 4813300 w 5398445"/>
                <a:gd name="connsiteY158" fmla="*/ 1054100 h 4585341"/>
                <a:gd name="connsiteX159" fmla="*/ 4787900 w 5398445"/>
                <a:gd name="connsiteY159" fmla="*/ 1016000 h 4585341"/>
                <a:gd name="connsiteX160" fmla="*/ 4711700 w 5398445"/>
                <a:gd name="connsiteY160" fmla="*/ 990600 h 4585341"/>
                <a:gd name="connsiteX161" fmla="*/ 4686300 w 5398445"/>
                <a:gd name="connsiteY161" fmla="*/ 952500 h 4585341"/>
                <a:gd name="connsiteX162" fmla="*/ 4660900 w 5398445"/>
                <a:gd name="connsiteY162" fmla="*/ 876300 h 4585341"/>
                <a:gd name="connsiteX163" fmla="*/ 4546600 w 5398445"/>
                <a:gd name="connsiteY163" fmla="*/ 889000 h 4585341"/>
                <a:gd name="connsiteX164" fmla="*/ 4432300 w 5398445"/>
                <a:gd name="connsiteY164" fmla="*/ 889000 h 4585341"/>
                <a:gd name="connsiteX165" fmla="*/ 4419600 w 5398445"/>
                <a:gd name="connsiteY165" fmla="*/ 850900 h 4585341"/>
                <a:gd name="connsiteX166" fmla="*/ 4368800 w 5398445"/>
                <a:gd name="connsiteY166" fmla="*/ 774700 h 4585341"/>
                <a:gd name="connsiteX167" fmla="*/ 4330700 w 5398445"/>
                <a:gd name="connsiteY167" fmla="*/ 660400 h 4585341"/>
                <a:gd name="connsiteX168" fmla="*/ 4318000 w 5398445"/>
                <a:gd name="connsiteY168" fmla="*/ 622300 h 4585341"/>
                <a:gd name="connsiteX169" fmla="*/ 4279900 w 5398445"/>
                <a:gd name="connsiteY169" fmla="*/ 609600 h 4585341"/>
                <a:gd name="connsiteX170" fmla="*/ 4229100 w 5398445"/>
                <a:gd name="connsiteY170" fmla="*/ 533400 h 4585341"/>
                <a:gd name="connsiteX171" fmla="*/ 4191000 w 5398445"/>
                <a:gd name="connsiteY171" fmla="*/ 508000 h 4585341"/>
                <a:gd name="connsiteX172" fmla="*/ 4127500 w 5398445"/>
                <a:gd name="connsiteY172" fmla="*/ 457200 h 4585341"/>
                <a:gd name="connsiteX173" fmla="*/ 4076700 w 5398445"/>
                <a:gd name="connsiteY173" fmla="*/ 469900 h 4585341"/>
                <a:gd name="connsiteX174" fmla="*/ 4000500 w 5398445"/>
                <a:gd name="connsiteY174" fmla="*/ 482600 h 4585341"/>
                <a:gd name="connsiteX175" fmla="*/ 3924300 w 5398445"/>
                <a:gd name="connsiteY175" fmla="*/ 508000 h 4585341"/>
                <a:gd name="connsiteX176" fmla="*/ 3683000 w 5398445"/>
                <a:gd name="connsiteY176" fmla="*/ 520700 h 4585341"/>
                <a:gd name="connsiteX177" fmla="*/ 3568700 w 5398445"/>
                <a:gd name="connsiteY177" fmla="*/ 558800 h 4585341"/>
                <a:gd name="connsiteX178" fmla="*/ 3530600 w 5398445"/>
                <a:gd name="connsiteY178" fmla="*/ 571500 h 4585341"/>
                <a:gd name="connsiteX179" fmla="*/ 3429000 w 5398445"/>
                <a:gd name="connsiteY179" fmla="*/ 596900 h 4585341"/>
                <a:gd name="connsiteX180" fmla="*/ 3225800 w 5398445"/>
                <a:gd name="connsiteY180" fmla="*/ 635000 h 4585341"/>
                <a:gd name="connsiteX181" fmla="*/ 3073400 w 5398445"/>
                <a:gd name="connsiteY181" fmla="*/ 571500 h 4585341"/>
                <a:gd name="connsiteX182" fmla="*/ 3060700 w 5398445"/>
                <a:gd name="connsiteY182" fmla="*/ 469900 h 4585341"/>
                <a:gd name="connsiteX183" fmla="*/ 3048000 w 5398445"/>
                <a:gd name="connsiteY183" fmla="*/ 431800 h 4585341"/>
                <a:gd name="connsiteX184" fmla="*/ 3009900 w 5398445"/>
                <a:gd name="connsiteY184" fmla="*/ 304800 h 4585341"/>
                <a:gd name="connsiteX185" fmla="*/ 2971800 w 5398445"/>
                <a:gd name="connsiteY185" fmla="*/ 228600 h 4585341"/>
                <a:gd name="connsiteX186" fmla="*/ 2870200 w 5398445"/>
                <a:gd name="connsiteY186" fmla="*/ 203200 h 4585341"/>
                <a:gd name="connsiteX187" fmla="*/ 2819400 w 5398445"/>
                <a:gd name="connsiteY187" fmla="*/ 88900 h 4585341"/>
                <a:gd name="connsiteX188" fmla="*/ 2730500 w 5398445"/>
                <a:gd name="connsiteY188" fmla="*/ 38100 h 4585341"/>
                <a:gd name="connsiteX189" fmla="*/ 2654300 w 5398445"/>
                <a:gd name="connsiteY189" fmla="*/ 0 h 4585341"/>
                <a:gd name="connsiteX190" fmla="*/ 2540000 w 5398445"/>
                <a:gd name="connsiteY190" fmla="*/ 12700 h 4585341"/>
                <a:gd name="connsiteX191" fmla="*/ 2463800 w 5398445"/>
                <a:gd name="connsiteY191" fmla="*/ 38100 h 4585341"/>
                <a:gd name="connsiteX192" fmla="*/ 2425700 w 5398445"/>
                <a:gd name="connsiteY192" fmla="*/ 50800 h 4585341"/>
                <a:gd name="connsiteX193" fmla="*/ 2400300 w 5398445"/>
                <a:gd name="connsiteY193" fmla="*/ 88900 h 4585341"/>
                <a:gd name="connsiteX194" fmla="*/ 2387600 w 5398445"/>
                <a:gd name="connsiteY194" fmla="*/ 127000 h 4585341"/>
                <a:gd name="connsiteX195" fmla="*/ 2286000 w 5398445"/>
                <a:gd name="connsiteY195" fmla="*/ 114300 h 4585341"/>
                <a:gd name="connsiteX196" fmla="*/ 2159000 w 5398445"/>
                <a:gd name="connsiteY196" fmla="*/ 139700 h 4585341"/>
                <a:gd name="connsiteX197" fmla="*/ 2120900 w 5398445"/>
                <a:gd name="connsiteY197" fmla="*/ 165100 h 4585341"/>
                <a:gd name="connsiteX198" fmla="*/ 2044700 w 5398445"/>
                <a:gd name="connsiteY198" fmla="*/ 190500 h 4585341"/>
                <a:gd name="connsiteX199" fmla="*/ 1981200 w 5398445"/>
                <a:gd name="connsiteY199" fmla="*/ 177800 h 4585341"/>
                <a:gd name="connsiteX200" fmla="*/ 1968500 w 5398445"/>
                <a:gd name="connsiteY200" fmla="*/ 139700 h 4585341"/>
                <a:gd name="connsiteX201" fmla="*/ 1892300 w 5398445"/>
                <a:gd name="connsiteY201" fmla="*/ 114300 h 4585341"/>
                <a:gd name="connsiteX202" fmla="*/ 1854200 w 5398445"/>
                <a:gd name="connsiteY202" fmla="*/ 101600 h 4585341"/>
                <a:gd name="connsiteX203" fmla="*/ 1803400 w 5398445"/>
                <a:gd name="connsiteY203" fmla="*/ 114300 h 4585341"/>
                <a:gd name="connsiteX204" fmla="*/ 1765300 w 5398445"/>
                <a:gd name="connsiteY204" fmla="*/ 127000 h 4585341"/>
                <a:gd name="connsiteX205" fmla="*/ 1701800 w 5398445"/>
                <a:gd name="connsiteY205" fmla="*/ 114300 h 4585341"/>
                <a:gd name="connsiteX206" fmla="*/ 1676400 w 5398445"/>
                <a:gd name="connsiteY206" fmla="*/ 76200 h 4585341"/>
                <a:gd name="connsiteX207" fmla="*/ 1536700 w 5398445"/>
                <a:gd name="connsiteY207" fmla="*/ 12700 h 4585341"/>
                <a:gd name="connsiteX208" fmla="*/ 1257300 w 5398445"/>
                <a:gd name="connsiteY208" fmla="*/ 12700 h 4585341"/>
                <a:gd name="connsiteX209" fmla="*/ 1130300 w 5398445"/>
                <a:gd name="connsiteY209" fmla="*/ 25400 h 4585341"/>
                <a:gd name="connsiteX210" fmla="*/ 1054100 w 5398445"/>
                <a:gd name="connsiteY210" fmla="*/ 50800 h 4585341"/>
                <a:gd name="connsiteX211" fmla="*/ 1016000 w 5398445"/>
                <a:gd name="connsiteY211" fmla="*/ 76200 h 4585341"/>
                <a:gd name="connsiteX212" fmla="*/ 901700 w 5398445"/>
                <a:gd name="connsiteY212" fmla="*/ 127000 h 4585341"/>
                <a:gd name="connsiteX213" fmla="*/ 863600 w 5398445"/>
                <a:gd name="connsiteY213" fmla="*/ 203200 h 4585341"/>
                <a:gd name="connsiteX214" fmla="*/ 850900 w 5398445"/>
                <a:gd name="connsiteY214" fmla="*/ 292100 h 4585341"/>
                <a:gd name="connsiteX215" fmla="*/ 774700 w 5398445"/>
                <a:gd name="connsiteY215" fmla="*/ 304800 h 4585341"/>
                <a:gd name="connsiteX216" fmla="*/ 723900 w 5398445"/>
                <a:gd name="connsiteY216" fmla="*/ 381000 h 4585341"/>
                <a:gd name="connsiteX217" fmla="*/ 698500 w 5398445"/>
                <a:gd name="connsiteY217" fmla="*/ 457200 h 4585341"/>
                <a:gd name="connsiteX218" fmla="*/ 685800 w 5398445"/>
                <a:gd name="connsiteY218" fmla="*/ 495300 h 4585341"/>
                <a:gd name="connsiteX219" fmla="*/ 647700 w 5398445"/>
                <a:gd name="connsiteY219" fmla="*/ 647700 h 4585341"/>
                <a:gd name="connsiteX220" fmla="*/ 596900 w 5398445"/>
                <a:gd name="connsiteY220" fmla="*/ 723900 h 4585341"/>
                <a:gd name="connsiteX221" fmla="*/ 571500 w 5398445"/>
                <a:gd name="connsiteY221" fmla="*/ 762000 h 4585341"/>
                <a:gd name="connsiteX222" fmla="*/ 558800 w 5398445"/>
                <a:gd name="connsiteY222" fmla="*/ 800100 h 4585341"/>
                <a:gd name="connsiteX223" fmla="*/ 482600 w 5398445"/>
                <a:gd name="connsiteY223" fmla="*/ 825500 h 4585341"/>
                <a:gd name="connsiteX224" fmla="*/ 266700 w 5398445"/>
                <a:gd name="connsiteY224" fmla="*/ 850900 h 4585341"/>
                <a:gd name="connsiteX225" fmla="*/ 190500 w 5398445"/>
                <a:gd name="connsiteY225" fmla="*/ 901700 h 4585341"/>
                <a:gd name="connsiteX226" fmla="*/ 114300 w 5398445"/>
                <a:gd name="connsiteY226" fmla="*/ 939800 h 4585341"/>
                <a:gd name="connsiteX227" fmla="*/ 76200 w 5398445"/>
                <a:gd name="connsiteY227" fmla="*/ 977900 h 4585341"/>
                <a:gd name="connsiteX228" fmla="*/ 0 w 5398445"/>
                <a:gd name="connsiteY228" fmla="*/ 1028700 h 4585341"/>
                <a:gd name="connsiteX229" fmla="*/ 25400 w 5398445"/>
                <a:gd name="connsiteY229" fmla="*/ 1066800 h 4585341"/>
                <a:gd name="connsiteX230" fmla="*/ 50800 w 5398445"/>
                <a:gd name="connsiteY230" fmla="*/ 1143000 h 4585341"/>
                <a:gd name="connsiteX231" fmla="*/ 76200 w 5398445"/>
                <a:gd name="connsiteY231" fmla="*/ 1181100 h 4585341"/>
                <a:gd name="connsiteX232" fmla="*/ 101600 w 5398445"/>
                <a:gd name="connsiteY232" fmla="*/ 1168400 h 4585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</a:cxnLst>
              <a:rect l="l" t="t" r="r" b="b"/>
              <a:pathLst>
                <a:path w="5398445" h="4585341">
                  <a:moveTo>
                    <a:pt x="0" y="1079500"/>
                  </a:moveTo>
                  <a:cubicBezTo>
                    <a:pt x="29633" y="1117600"/>
                    <a:pt x="52053" y="1162622"/>
                    <a:pt x="88900" y="1193800"/>
                  </a:cubicBezTo>
                  <a:cubicBezTo>
                    <a:pt x="109339" y="1211094"/>
                    <a:pt x="139700" y="1210733"/>
                    <a:pt x="165100" y="1219200"/>
                  </a:cubicBezTo>
                  <a:cubicBezTo>
                    <a:pt x="221161" y="1237887"/>
                    <a:pt x="191226" y="1225913"/>
                    <a:pt x="254000" y="1257300"/>
                  </a:cubicBezTo>
                  <a:cubicBezTo>
                    <a:pt x="258233" y="1270000"/>
                    <a:pt x="257234" y="1285934"/>
                    <a:pt x="266700" y="1295400"/>
                  </a:cubicBezTo>
                  <a:cubicBezTo>
                    <a:pt x="276166" y="1304866"/>
                    <a:pt x="292826" y="1302113"/>
                    <a:pt x="304800" y="1308100"/>
                  </a:cubicBezTo>
                  <a:cubicBezTo>
                    <a:pt x="318452" y="1314926"/>
                    <a:pt x="328952" y="1327301"/>
                    <a:pt x="342900" y="1333500"/>
                  </a:cubicBezTo>
                  <a:cubicBezTo>
                    <a:pt x="367366" y="1344374"/>
                    <a:pt x="419100" y="1358900"/>
                    <a:pt x="419100" y="1358900"/>
                  </a:cubicBezTo>
                  <a:cubicBezTo>
                    <a:pt x="482600" y="1337733"/>
                    <a:pt x="452967" y="1358900"/>
                    <a:pt x="482600" y="1270000"/>
                  </a:cubicBezTo>
                  <a:lnTo>
                    <a:pt x="495300" y="1231900"/>
                  </a:lnTo>
                  <a:cubicBezTo>
                    <a:pt x="516467" y="1236133"/>
                    <a:pt x="540058" y="1233890"/>
                    <a:pt x="558800" y="1244600"/>
                  </a:cubicBezTo>
                  <a:cubicBezTo>
                    <a:pt x="625315" y="1282609"/>
                    <a:pt x="540172" y="1297376"/>
                    <a:pt x="622300" y="1270000"/>
                  </a:cubicBezTo>
                  <a:cubicBezTo>
                    <a:pt x="630767" y="1257300"/>
                    <a:pt x="636907" y="1242693"/>
                    <a:pt x="647700" y="1231900"/>
                  </a:cubicBezTo>
                  <a:cubicBezTo>
                    <a:pt x="680402" y="1199198"/>
                    <a:pt x="703867" y="1202887"/>
                    <a:pt x="749300" y="1193800"/>
                  </a:cubicBezTo>
                  <a:cubicBezTo>
                    <a:pt x="778933" y="1198033"/>
                    <a:pt x="820801" y="1182142"/>
                    <a:pt x="838200" y="1206500"/>
                  </a:cubicBezTo>
                  <a:cubicBezTo>
                    <a:pt x="853762" y="1228287"/>
                    <a:pt x="812800" y="1282700"/>
                    <a:pt x="812800" y="1282700"/>
                  </a:cubicBezTo>
                  <a:cubicBezTo>
                    <a:pt x="817033" y="1303867"/>
                    <a:pt x="819820" y="1325375"/>
                    <a:pt x="825500" y="1346200"/>
                  </a:cubicBezTo>
                  <a:cubicBezTo>
                    <a:pt x="832545" y="1372031"/>
                    <a:pt x="850900" y="1422400"/>
                    <a:pt x="850900" y="1422400"/>
                  </a:cubicBezTo>
                  <a:lnTo>
                    <a:pt x="825500" y="1524000"/>
                  </a:lnTo>
                  <a:cubicBezTo>
                    <a:pt x="821267" y="1540933"/>
                    <a:pt x="818320" y="1558241"/>
                    <a:pt x="812800" y="1574800"/>
                  </a:cubicBezTo>
                  <a:lnTo>
                    <a:pt x="787400" y="1651000"/>
                  </a:lnTo>
                  <a:cubicBezTo>
                    <a:pt x="815109" y="1734127"/>
                    <a:pt x="776624" y="1652539"/>
                    <a:pt x="838200" y="1701800"/>
                  </a:cubicBezTo>
                  <a:cubicBezTo>
                    <a:pt x="850119" y="1711335"/>
                    <a:pt x="855133" y="1727200"/>
                    <a:pt x="863600" y="1739900"/>
                  </a:cubicBezTo>
                  <a:cubicBezTo>
                    <a:pt x="859367" y="1769533"/>
                    <a:pt x="866765" y="1803416"/>
                    <a:pt x="850900" y="1828800"/>
                  </a:cubicBezTo>
                  <a:cubicBezTo>
                    <a:pt x="841649" y="1843601"/>
                    <a:pt x="816883" y="1836705"/>
                    <a:pt x="800100" y="1841500"/>
                  </a:cubicBezTo>
                  <a:cubicBezTo>
                    <a:pt x="787228" y="1845178"/>
                    <a:pt x="774700" y="1849967"/>
                    <a:pt x="762000" y="1854200"/>
                  </a:cubicBezTo>
                  <a:cubicBezTo>
                    <a:pt x="795867" y="1955800"/>
                    <a:pt x="745067" y="1837267"/>
                    <a:pt x="812800" y="1905000"/>
                  </a:cubicBezTo>
                  <a:cubicBezTo>
                    <a:pt x="826187" y="1918387"/>
                    <a:pt x="829733" y="1938867"/>
                    <a:pt x="838200" y="1955800"/>
                  </a:cubicBezTo>
                  <a:cubicBezTo>
                    <a:pt x="842433" y="1985433"/>
                    <a:pt x="845029" y="2015347"/>
                    <a:pt x="850900" y="2044700"/>
                  </a:cubicBezTo>
                  <a:cubicBezTo>
                    <a:pt x="853525" y="2057827"/>
                    <a:pt x="859922" y="2069928"/>
                    <a:pt x="863600" y="2082800"/>
                  </a:cubicBezTo>
                  <a:cubicBezTo>
                    <a:pt x="868395" y="2099583"/>
                    <a:pt x="871505" y="2116817"/>
                    <a:pt x="876300" y="2133600"/>
                  </a:cubicBezTo>
                  <a:cubicBezTo>
                    <a:pt x="879978" y="2146472"/>
                    <a:pt x="880637" y="2161247"/>
                    <a:pt x="889000" y="2171700"/>
                  </a:cubicBezTo>
                  <a:cubicBezTo>
                    <a:pt x="898535" y="2183619"/>
                    <a:pt x="914400" y="2188633"/>
                    <a:pt x="927100" y="2197100"/>
                  </a:cubicBezTo>
                  <a:cubicBezTo>
                    <a:pt x="935466" y="2222199"/>
                    <a:pt x="942819" y="2255395"/>
                    <a:pt x="965200" y="2273300"/>
                  </a:cubicBezTo>
                  <a:cubicBezTo>
                    <a:pt x="975653" y="2281663"/>
                    <a:pt x="990600" y="2281767"/>
                    <a:pt x="1003300" y="2286000"/>
                  </a:cubicBezTo>
                  <a:cubicBezTo>
                    <a:pt x="1032933" y="2374900"/>
                    <a:pt x="1037167" y="2336800"/>
                    <a:pt x="1016000" y="2400300"/>
                  </a:cubicBezTo>
                  <a:cubicBezTo>
                    <a:pt x="1105351" y="2430084"/>
                    <a:pt x="995046" y="2391320"/>
                    <a:pt x="1104900" y="2438400"/>
                  </a:cubicBezTo>
                  <a:cubicBezTo>
                    <a:pt x="1117205" y="2443673"/>
                    <a:pt x="1131026" y="2445113"/>
                    <a:pt x="1143000" y="2451100"/>
                  </a:cubicBezTo>
                  <a:cubicBezTo>
                    <a:pt x="1212360" y="2485780"/>
                    <a:pt x="1148972" y="2470047"/>
                    <a:pt x="1219200" y="2489200"/>
                  </a:cubicBezTo>
                  <a:cubicBezTo>
                    <a:pt x="1252879" y="2498385"/>
                    <a:pt x="1320800" y="2514600"/>
                    <a:pt x="1320800" y="2514600"/>
                  </a:cubicBezTo>
                  <a:cubicBezTo>
                    <a:pt x="1333500" y="2523067"/>
                    <a:pt x="1343790" y="2537841"/>
                    <a:pt x="1358900" y="2540000"/>
                  </a:cubicBezTo>
                  <a:cubicBezTo>
                    <a:pt x="1376179" y="2542468"/>
                    <a:pt x="1392917" y="2532095"/>
                    <a:pt x="1409700" y="2527300"/>
                  </a:cubicBezTo>
                  <a:cubicBezTo>
                    <a:pt x="1537237" y="2490861"/>
                    <a:pt x="1339791" y="2541602"/>
                    <a:pt x="1498600" y="2501900"/>
                  </a:cubicBezTo>
                  <a:cubicBezTo>
                    <a:pt x="1507067" y="2514600"/>
                    <a:pt x="1524000" y="2524736"/>
                    <a:pt x="1524000" y="2540000"/>
                  </a:cubicBezTo>
                  <a:cubicBezTo>
                    <a:pt x="1524000" y="2555264"/>
                    <a:pt x="1505426" y="2564448"/>
                    <a:pt x="1498600" y="2578100"/>
                  </a:cubicBezTo>
                  <a:cubicBezTo>
                    <a:pt x="1492613" y="2590074"/>
                    <a:pt x="1490133" y="2603500"/>
                    <a:pt x="1485900" y="2616200"/>
                  </a:cubicBezTo>
                  <a:cubicBezTo>
                    <a:pt x="1494367" y="2628900"/>
                    <a:pt x="1505101" y="2640352"/>
                    <a:pt x="1511300" y="2654300"/>
                  </a:cubicBezTo>
                  <a:cubicBezTo>
                    <a:pt x="1522174" y="2678766"/>
                    <a:pt x="1511300" y="2722033"/>
                    <a:pt x="1536700" y="2730500"/>
                  </a:cubicBezTo>
                  <a:lnTo>
                    <a:pt x="1651000" y="2768600"/>
                  </a:lnTo>
                  <a:cubicBezTo>
                    <a:pt x="1663700" y="2772833"/>
                    <a:pt x="1676113" y="2778053"/>
                    <a:pt x="1689100" y="2781300"/>
                  </a:cubicBezTo>
                  <a:lnTo>
                    <a:pt x="1739900" y="2794000"/>
                  </a:lnTo>
                  <a:cubicBezTo>
                    <a:pt x="1744133" y="2806700"/>
                    <a:pt x="1746613" y="2820126"/>
                    <a:pt x="1752600" y="2832100"/>
                  </a:cubicBezTo>
                  <a:cubicBezTo>
                    <a:pt x="1759426" y="2845752"/>
                    <a:pt x="1773614" y="2855580"/>
                    <a:pt x="1778000" y="2870200"/>
                  </a:cubicBezTo>
                  <a:cubicBezTo>
                    <a:pt x="1786602" y="2898872"/>
                    <a:pt x="1786744" y="2929428"/>
                    <a:pt x="1790700" y="2959100"/>
                  </a:cubicBezTo>
                  <a:cubicBezTo>
                    <a:pt x="1806656" y="3078770"/>
                    <a:pt x="1791981" y="3026444"/>
                    <a:pt x="1816100" y="3098800"/>
                  </a:cubicBezTo>
                  <a:cubicBezTo>
                    <a:pt x="1820333" y="3132667"/>
                    <a:pt x="1824888" y="3166495"/>
                    <a:pt x="1828800" y="3200400"/>
                  </a:cubicBezTo>
                  <a:cubicBezTo>
                    <a:pt x="1837588" y="3276564"/>
                    <a:pt x="1829955" y="3356265"/>
                    <a:pt x="1854200" y="3429000"/>
                  </a:cubicBezTo>
                  <a:lnTo>
                    <a:pt x="1879600" y="3505200"/>
                  </a:lnTo>
                  <a:lnTo>
                    <a:pt x="1892300" y="3543300"/>
                  </a:lnTo>
                  <a:cubicBezTo>
                    <a:pt x="1888067" y="3556000"/>
                    <a:pt x="1882225" y="3568273"/>
                    <a:pt x="1879600" y="3581400"/>
                  </a:cubicBezTo>
                  <a:cubicBezTo>
                    <a:pt x="1873729" y="3610753"/>
                    <a:pt x="1875502" y="3641628"/>
                    <a:pt x="1866900" y="3670300"/>
                  </a:cubicBezTo>
                  <a:cubicBezTo>
                    <a:pt x="1862514" y="3684920"/>
                    <a:pt x="1849967" y="3695700"/>
                    <a:pt x="1841500" y="3708400"/>
                  </a:cubicBezTo>
                  <a:cubicBezTo>
                    <a:pt x="1845733" y="3729567"/>
                    <a:pt x="1838936" y="3756636"/>
                    <a:pt x="1854200" y="3771900"/>
                  </a:cubicBezTo>
                  <a:cubicBezTo>
                    <a:pt x="1873132" y="3790832"/>
                    <a:pt x="1908123" y="3782448"/>
                    <a:pt x="1930400" y="3797300"/>
                  </a:cubicBezTo>
                  <a:cubicBezTo>
                    <a:pt x="1943100" y="3805767"/>
                    <a:pt x="1954552" y="3816501"/>
                    <a:pt x="1968500" y="3822700"/>
                  </a:cubicBezTo>
                  <a:cubicBezTo>
                    <a:pt x="1992966" y="3833574"/>
                    <a:pt x="2019300" y="3839633"/>
                    <a:pt x="2044700" y="3848100"/>
                  </a:cubicBezTo>
                  <a:lnTo>
                    <a:pt x="2082800" y="3860800"/>
                  </a:lnTo>
                  <a:cubicBezTo>
                    <a:pt x="2087033" y="3873500"/>
                    <a:pt x="2087137" y="3888447"/>
                    <a:pt x="2095500" y="3898900"/>
                  </a:cubicBezTo>
                  <a:cubicBezTo>
                    <a:pt x="2119764" y="3929230"/>
                    <a:pt x="2141024" y="3921662"/>
                    <a:pt x="2171700" y="3937000"/>
                  </a:cubicBezTo>
                  <a:cubicBezTo>
                    <a:pt x="2185352" y="3943826"/>
                    <a:pt x="2195852" y="3956201"/>
                    <a:pt x="2209800" y="3962400"/>
                  </a:cubicBezTo>
                  <a:cubicBezTo>
                    <a:pt x="2234266" y="3973274"/>
                    <a:pt x="2260600" y="3979333"/>
                    <a:pt x="2286000" y="3987800"/>
                  </a:cubicBezTo>
                  <a:cubicBezTo>
                    <a:pt x="2298700" y="3992033"/>
                    <a:pt x="2312126" y="3994513"/>
                    <a:pt x="2324100" y="4000500"/>
                  </a:cubicBezTo>
                  <a:lnTo>
                    <a:pt x="2374900" y="4025900"/>
                  </a:lnTo>
                  <a:cubicBezTo>
                    <a:pt x="2370667" y="4047067"/>
                    <a:pt x="2366883" y="4068328"/>
                    <a:pt x="2362200" y="4089400"/>
                  </a:cubicBezTo>
                  <a:cubicBezTo>
                    <a:pt x="2355604" y="4119080"/>
                    <a:pt x="2350607" y="4157095"/>
                    <a:pt x="2324100" y="4178300"/>
                  </a:cubicBezTo>
                  <a:cubicBezTo>
                    <a:pt x="2313647" y="4186663"/>
                    <a:pt x="2298700" y="4186767"/>
                    <a:pt x="2286000" y="4191000"/>
                  </a:cubicBezTo>
                  <a:cubicBezTo>
                    <a:pt x="2256013" y="4280960"/>
                    <a:pt x="2252778" y="4251051"/>
                    <a:pt x="2273300" y="4343400"/>
                  </a:cubicBezTo>
                  <a:cubicBezTo>
                    <a:pt x="2276204" y="4356468"/>
                    <a:pt x="2277637" y="4371047"/>
                    <a:pt x="2286000" y="4381500"/>
                  </a:cubicBezTo>
                  <a:cubicBezTo>
                    <a:pt x="2303905" y="4403881"/>
                    <a:pt x="2337101" y="4411234"/>
                    <a:pt x="2362200" y="4419600"/>
                  </a:cubicBezTo>
                  <a:cubicBezTo>
                    <a:pt x="2374900" y="4432300"/>
                    <a:pt x="2384600" y="4448978"/>
                    <a:pt x="2400300" y="4457700"/>
                  </a:cubicBezTo>
                  <a:cubicBezTo>
                    <a:pt x="2456841" y="4489112"/>
                    <a:pt x="2492493" y="4480748"/>
                    <a:pt x="2552700" y="4495800"/>
                  </a:cubicBezTo>
                  <a:cubicBezTo>
                    <a:pt x="2683759" y="4528565"/>
                    <a:pt x="2583603" y="4504902"/>
                    <a:pt x="2667000" y="4546600"/>
                  </a:cubicBezTo>
                  <a:cubicBezTo>
                    <a:pt x="2772160" y="4599180"/>
                    <a:pt x="2634011" y="4511907"/>
                    <a:pt x="2743200" y="4584700"/>
                  </a:cubicBezTo>
                  <a:cubicBezTo>
                    <a:pt x="2785533" y="4580467"/>
                    <a:pt x="2834307" y="4594841"/>
                    <a:pt x="2870200" y="4572000"/>
                  </a:cubicBezTo>
                  <a:cubicBezTo>
                    <a:pt x="2891925" y="4558175"/>
                    <a:pt x="2868133" y="4516896"/>
                    <a:pt x="2882900" y="4495800"/>
                  </a:cubicBezTo>
                  <a:cubicBezTo>
                    <a:pt x="2900406" y="4470791"/>
                    <a:pt x="2930140" y="4454653"/>
                    <a:pt x="2959100" y="4445000"/>
                  </a:cubicBezTo>
                  <a:lnTo>
                    <a:pt x="3035300" y="4419600"/>
                  </a:lnTo>
                  <a:cubicBezTo>
                    <a:pt x="3043767" y="4406900"/>
                    <a:pt x="3053874" y="4395152"/>
                    <a:pt x="3060700" y="4381500"/>
                  </a:cubicBezTo>
                  <a:cubicBezTo>
                    <a:pt x="3081358" y="4340183"/>
                    <a:pt x="3062404" y="4341696"/>
                    <a:pt x="3098800" y="4305300"/>
                  </a:cubicBezTo>
                  <a:cubicBezTo>
                    <a:pt x="3109593" y="4294507"/>
                    <a:pt x="3124200" y="4288367"/>
                    <a:pt x="3136900" y="4279900"/>
                  </a:cubicBezTo>
                  <a:cubicBezTo>
                    <a:pt x="3153833" y="4254500"/>
                    <a:pt x="3178047" y="4232660"/>
                    <a:pt x="3187700" y="4203700"/>
                  </a:cubicBezTo>
                  <a:cubicBezTo>
                    <a:pt x="3191933" y="4191000"/>
                    <a:pt x="3194413" y="4177574"/>
                    <a:pt x="3200400" y="4165600"/>
                  </a:cubicBezTo>
                  <a:cubicBezTo>
                    <a:pt x="3207226" y="4151948"/>
                    <a:pt x="3212857" y="4135590"/>
                    <a:pt x="3225800" y="4127500"/>
                  </a:cubicBezTo>
                  <a:cubicBezTo>
                    <a:pt x="3248504" y="4113310"/>
                    <a:pt x="3276600" y="4110567"/>
                    <a:pt x="3302000" y="4102100"/>
                  </a:cubicBezTo>
                  <a:lnTo>
                    <a:pt x="3340100" y="4089400"/>
                  </a:lnTo>
                  <a:cubicBezTo>
                    <a:pt x="3362934" y="4055149"/>
                    <a:pt x="3369437" y="4052635"/>
                    <a:pt x="3378200" y="4013200"/>
                  </a:cubicBezTo>
                  <a:cubicBezTo>
                    <a:pt x="3383786" y="3988063"/>
                    <a:pt x="3378124" y="3959358"/>
                    <a:pt x="3390900" y="3937000"/>
                  </a:cubicBezTo>
                  <a:cubicBezTo>
                    <a:pt x="3397542" y="3925377"/>
                    <a:pt x="3417026" y="3930287"/>
                    <a:pt x="3429000" y="3924300"/>
                  </a:cubicBezTo>
                  <a:cubicBezTo>
                    <a:pt x="3442652" y="3917474"/>
                    <a:pt x="3454400" y="3907367"/>
                    <a:pt x="3467100" y="3898900"/>
                  </a:cubicBezTo>
                  <a:cubicBezTo>
                    <a:pt x="3475567" y="3886200"/>
                    <a:pt x="3495811" y="3875700"/>
                    <a:pt x="3492500" y="3860800"/>
                  </a:cubicBezTo>
                  <a:cubicBezTo>
                    <a:pt x="3485878" y="3831000"/>
                    <a:pt x="3441700" y="3784600"/>
                    <a:pt x="3441700" y="3784600"/>
                  </a:cubicBezTo>
                  <a:cubicBezTo>
                    <a:pt x="3445769" y="3768324"/>
                    <a:pt x="3457990" y="3713920"/>
                    <a:pt x="3467100" y="3695700"/>
                  </a:cubicBezTo>
                  <a:cubicBezTo>
                    <a:pt x="3473926" y="3682048"/>
                    <a:pt x="3484033" y="3670300"/>
                    <a:pt x="3492500" y="3657600"/>
                  </a:cubicBezTo>
                  <a:cubicBezTo>
                    <a:pt x="3496142" y="3621177"/>
                    <a:pt x="3495015" y="3538269"/>
                    <a:pt x="3517900" y="3492500"/>
                  </a:cubicBezTo>
                  <a:cubicBezTo>
                    <a:pt x="3524726" y="3478848"/>
                    <a:pt x="3536474" y="3468052"/>
                    <a:pt x="3543300" y="3454400"/>
                  </a:cubicBezTo>
                  <a:cubicBezTo>
                    <a:pt x="3549287" y="3442426"/>
                    <a:pt x="3546534" y="3425766"/>
                    <a:pt x="3556000" y="3416300"/>
                  </a:cubicBezTo>
                  <a:cubicBezTo>
                    <a:pt x="3584062" y="3388238"/>
                    <a:pt x="3629234" y="3361926"/>
                    <a:pt x="3670300" y="3352800"/>
                  </a:cubicBezTo>
                  <a:cubicBezTo>
                    <a:pt x="3695437" y="3347214"/>
                    <a:pt x="3721100" y="3344333"/>
                    <a:pt x="3746500" y="3340100"/>
                  </a:cubicBezTo>
                  <a:lnTo>
                    <a:pt x="3771900" y="3263900"/>
                  </a:lnTo>
                  <a:lnTo>
                    <a:pt x="3784600" y="3225800"/>
                  </a:lnTo>
                  <a:cubicBezTo>
                    <a:pt x="3780367" y="3191933"/>
                    <a:pt x="3785762" y="3155389"/>
                    <a:pt x="3771900" y="3124200"/>
                  </a:cubicBezTo>
                  <a:cubicBezTo>
                    <a:pt x="3766463" y="3111967"/>
                    <a:pt x="3739237" y="3123733"/>
                    <a:pt x="3733800" y="3111500"/>
                  </a:cubicBezTo>
                  <a:cubicBezTo>
                    <a:pt x="3719938" y="3080311"/>
                    <a:pt x="3725333" y="3043767"/>
                    <a:pt x="3721100" y="3009900"/>
                  </a:cubicBezTo>
                  <a:cubicBezTo>
                    <a:pt x="3725333" y="2988733"/>
                    <a:pt x="3720548" y="2963439"/>
                    <a:pt x="3733800" y="2946400"/>
                  </a:cubicBezTo>
                  <a:cubicBezTo>
                    <a:pt x="3768267" y="2902085"/>
                    <a:pt x="3837180" y="2886540"/>
                    <a:pt x="3886200" y="2870200"/>
                  </a:cubicBezTo>
                  <a:lnTo>
                    <a:pt x="3962400" y="2844800"/>
                  </a:lnTo>
                  <a:lnTo>
                    <a:pt x="4000500" y="2832100"/>
                  </a:lnTo>
                  <a:cubicBezTo>
                    <a:pt x="4008967" y="2819400"/>
                    <a:pt x="4016129" y="2805726"/>
                    <a:pt x="4025900" y="2794000"/>
                  </a:cubicBezTo>
                  <a:cubicBezTo>
                    <a:pt x="4037398" y="2780202"/>
                    <a:pt x="4055278" y="2771600"/>
                    <a:pt x="4064000" y="2755900"/>
                  </a:cubicBezTo>
                  <a:cubicBezTo>
                    <a:pt x="4077003" y="2732495"/>
                    <a:pt x="4080933" y="2705100"/>
                    <a:pt x="4089400" y="2679700"/>
                  </a:cubicBezTo>
                  <a:cubicBezTo>
                    <a:pt x="4130281" y="2557058"/>
                    <a:pt x="4064726" y="2747734"/>
                    <a:pt x="4127500" y="2590800"/>
                  </a:cubicBezTo>
                  <a:cubicBezTo>
                    <a:pt x="4137444" y="2565941"/>
                    <a:pt x="4144433" y="2540000"/>
                    <a:pt x="4152900" y="2514600"/>
                  </a:cubicBezTo>
                  <a:cubicBezTo>
                    <a:pt x="4163229" y="2483612"/>
                    <a:pt x="4166381" y="2463019"/>
                    <a:pt x="4191000" y="2438400"/>
                  </a:cubicBezTo>
                  <a:cubicBezTo>
                    <a:pt x="4227396" y="2402004"/>
                    <a:pt x="4225883" y="2420958"/>
                    <a:pt x="4267200" y="2400300"/>
                  </a:cubicBezTo>
                  <a:cubicBezTo>
                    <a:pt x="4280852" y="2393474"/>
                    <a:pt x="4292600" y="2383367"/>
                    <a:pt x="4305300" y="2374900"/>
                  </a:cubicBezTo>
                  <a:cubicBezTo>
                    <a:pt x="4309533" y="2362200"/>
                    <a:pt x="4308534" y="2346266"/>
                    <a:pt x="4318000" y="2336800"/>
                  </a:cubicBezTo>
                  <a:cubicBezTo>
                    <a:pt x="4327466" y="2327334"/>
                    <a:pt x="4342713" y="2324100"/>
                    <a:pt x="4356100" y="2324100"/>
                  </a:cubicBezTo>
                  <a:cubicBezTo>
                    <a:pt x="4407076" y="2324100"/>
                    <a:pt x="4457700" y="2332567"/>
                    <a:pt x="4508500" y="2336800"/>
                  </a:cubicBezTo>
                  <a:cubicBezTo>
                    <a:pt x="4525433" y="2332567"/>
                    <a:pt x="4544777" y="2333782"/>
                    <a:pt x="4559300" y="2324100"/>
                  </a:cubicBezTo>
                  <a:cubicBezTo>
                    <a:pt x="4607635" y="2291876"/>
                    <a:pt x="4570125" y="2240739"/>
                    <a:pt x="4597400" y="2197100"/>
                  </a:cubicBezTo>
                  <a:cubicBezTo>
                    <a:pt x="4606651" y="2182299"/>
                    <a:pt x="4631267" y="2188633"/>
                    <a:pt x="4648200" y="2184400"/>
                  </a:cubicBezTo>
                  <a:cubicBezTo>
                    <a:pt x="4690533" y="2188633"/>
                    <a:pt x="4733745" y="2187533"/>
                    <a:pt x="4775200" y="2197100"/>
                  </a:cubicBezTo>
                  <a:cubicBezTo>
                    <a:pt x="4790073" y="2200532"/>
                    <a:pt x="4799648" y="2215674"/>
                    <a:pt x="4813300" y="2222500"/>
                  </a:cubicBezTo>
                  <a:cubicBezTo>
                    <a:pt x="4831520" y="2231610"/>
                    <a:pt x="4885924" y="2243831"/>
                    <a:pt x="4902200" y="2247900"/>
                  </a:cubicBezTo>
                  <a:lnTo>
                    <a:pt x="5041900" y="2235200"/>
                  </a:lnTo>
                  <a:cubicBezTo>
                    <a:pt x="5061712" y="2224532"/>
                    <a:pt x="5063744" y="2145284"/>
                    <a:pt x="5080000" y="2120900"/>
                  </a:cubicBezTo>
                  <a:cubicBezTo>
                    <a:pt x="5088467" y="2108200"/>
                    <a:pt x="5094607" y="2093593"/>
                    <a:pt x="5105400" y="2082800"/>
                  </a:cubicBezTo>
                  <a:cubicBezTo>
                    <a:pt x="5141796" y="2046404"/>
                    <a:pt x="5140283" y="2065358"/>
                    <a:pt x="5181600" y="2044700"/>
                  </a:cubicBezTo>
                  <a:cubicBezTo>
                    <a:pt x="5195252" y="2037874"/>
                    <a:pt x="5207000" y="2027767"/>
                    <a:pt x="5219700" y="2019300"/>
                  </a:cubicBezTo>
                  <a:cubicBezTo>
                    <a:pt x="5223933" y="2006600"/>
                    <a:pt x="5232400" y="1994587"/>
                    <a:pt x="5232400" y="1981200"/>
                  </a:cubicBezTo>
                  <a:cubicBezTo>
                    <a:pt x="5232400" y="1963746"/>
                    <a:pt x="5214180" y="1946959"/>
                    <a:pt x="5219700" y="1930400"/>
                  </a:cubicBezTo>
                  <a:cubicBezTo>
                    <a:pt x="5224527" y="1915920"/>
                    <a:pt x="5243852" y="1911199"/>
                    <a:pt x="5257800" y="1905000"/>
                  </a:cubicBezTo>
                  <a:cubicBezTo>
                    <a:pt x="5282266" y="1894126"/>
                    <a:pt x="5334000" y="1879600"/>
                    <a:pt x="5334000" y="1879600"/>
                  </a:cubicBezTo>
                  <a:cubicBezTo>
                    <a:pt x="5342467" y="1866900"/>
                    <a:pt x="5347481" y="1851035"/>
                    <a:pt x="5359400" y="1841500"/>
                  </a:cubicBezTo>
                  <a:cubicBezTo>
                    <a:pt x="5369853" y="1833137"/>
                    <a:pt x="5395299" y="1842005"/>
                    <a:pt x="5397500" y="1828800"/>
                  </a:cubicBezTo>
                  <a:cubicBezTo>
                    <a:pt x="5401150" y="1806898"/>
                    <a:pt x="5394558" y="1695917"/>
                    <a:pt x="5372100" y="1651000"/>
                  </a:cubicBezTo>
                  <a:cubicBezTo>
                    <a:pt x="5365274" y="1637348"/>
                    <a:pt x="5355167" y="1625600"/>
                    <a:pt x="5346700" y="1612900"/>
                  </a:cubicBezTo>
                  <a:cubicBezTo>
                    <a:pt x="5385235" y="1497295"/>
                    <a:pt x="5326124" y="1679879"/>
                    <a:pt x="5372100" y="1511300"/>
                  </a:cubicBezTo>
                  <a:cubicBezTo>
                    <a:pt x="5379145" y="1485469"/>
                    <a:pt x="5397500" y="1435100"/>
                    <a:pt x="5397500" y="1435100"/>
                  </a:cubicBezTo>
                  <a:cubicBezTo>
                    <a:pt x="5387171" y="1404112"/>
                    <a:pt x="5384019" y="1383519"/>
                    <a:pt x="5359400" y="1358900"/>
                  </a:cubicBezTo>
                  <a:cubicBezTo>
                    <a:pt x="5338772" y="1338272"/>
                    <a:pt x="5293742" y="1321381"/>
                    <a:pt x="5270500" y="1308100"/>
                  </a:cubicBezTo>
                  <a:cubicBezTo>
                    <a:pt x="5257248" y="1300527"/>
                    <a:pt x="5246348" y="1288899"/>
                    <a:pt x="5232400" y="1282700"/>
                  </a:cubicBezTo>
                  <a:cubicBezTo>
                    <a:pt x="5207934" y="1271826"/>
                    <a:pt x="5181600" y="1265767"/>
                    <a:pt x="5156200" y="1257300"/>
                  </a:cubicBezTo>
                  <a:lnTo>
                    <a:pt x="5118100" y="1244600"/>
                  </a:lnTo>
                  <a:cubicBezTo>
                    <a:pt x="5023939" y="1275987"/>
                    <a:pt x="5065847" y="1258026"/>
                    <a:pt x="4991100" y="1295400"/>
                  </a:cubicBezTo>
                  <a:cubicBezTo>
                    <a:pt x="4957233" y="1291167"/>
                    <a:pt x="4917461" y="1302272"/>
                    <a:pt x="4889500" y="1282700"/>
                  </a:cubicBezTo>
                  <a:cubicBezTo>
                    <a:pt x="4867566" y="1267346"/>
                    <a:pt x="4872567" y="1231900"/>
                    <a:pt x="4864100" y="1206500"/>
                  </a:cubicBezTo>
                  <a:lnTo>
                    <a:pt x="4826000" y="1092200"/>
                  </a:lnTo>
                  <a:cubicBezTo>
                    <a:pt x="4821767" y="1079500"/>
                    <a:pt x="4820726" y="1065239"/>
                    <a:pt x="4813300" y="1054100"/>
                  </a:cubicBezTo>
                  <a:cubicBezTo>
                    <a:pt x="4804833" y="1041400"/>
                    <a:pt x="4800843" y="1024090"/>
                    <a:pt x="4787900" y="1016000"/>
                  </a:cubicBezTo>
                  <a:cubicBezTo>
                    <a:pt x="4765196" y="1001810"/>
                    <a:pt x="4711700" y="990600"/>
                    <a:pt x="4711700" y="990600"/>
                  </a:cubicBezTo>
                  <a:cubicBezTo>
                    <a:pt x="4703233" y="977900"/>
                    <a:pt x="4692499" y="966448"/>
                    <a:pt x="4686300" y="952500"/>
                  </a:cubicBezTo>
                  <a:cubicBezTo>
                    <a:pt x="4675426" y="928034"/>
                    <a:pt x="4660900" y="876300"/>
                    <a:pt x="4660900" y="876300"/>
                  </a:cubicBezTo>
                  <a:cubicBezTo>
                    <a:pt x="4622800" y="880533"/>
                    <a:pt x="4584598" y="883934"/>
                    <a:pt x="4546600" y="889000"/>
                  </a:cubicBezTo>
                  <a:cubicBezTo>
                    <a:pt x="4450809" y="901772"/>
                    <a:pt x="4498149" y="910950"/>
                    <a:pt x="4432300" y="889000"/>
                  </a:cubicBezTo>
                  <a:cubicBezTo>
                    <a:pt x="4428067" y="876300"/>
                    <a:pt x="4426101" y="862602"/>
                    <a:pt x="4419600" y="850900"/>
                  </a:cubicBezTo>
                  <a:cubicBezTo>
                    <a:pt x="4404775" y="824215"/>
                    <a:pt x="4378453" y="803660"/>
                    <a:pt x="4368800" y="774700"/>
                  </a:cubicBezTo>
                  <a:lnTo>
                    <a:pt x="4330700" y="660400"/>
                  </a:lnTo>
                  <a:cubicBezTo>
                    <a:pt x="4326467" y="647700"/>
                    <a:pt x="4330700" y="626533"/>
                    <a:pt x="4318000" y="622300"/>
                  </a:cubicBezTo>
                  <a:lnTo>
                    <a:pt x="4279900" y="609600"/>
                  </a:lnTo>
                  <a:cubicBezTo>
                    <a:pt x="4262967" y="584200"/>
                    <a:pt x="4249202" y="556374"/>
                    <a:pt x="4229100" y="533400"/>
                  </a:cubicBezTo>
                  <a:cubicBezTo>
                    <a:pt x="4219049" y="521913"/>
                    <a:pt x="4201793" y="518793"/>
                    <a:pt x="4191000" y="508000"/>
                  </a:cubicBezTo>
                  <a:cubicBezTo>
                    <a:pt x="4133555" y="450555"/>
                    <a:pt x="4201673" y="481924"/>
                    <a:pt x="4127500" y="457200"/>
                  </a:cubicBezTo>
                  <a:cubicBezTo>
                    <a:pt x="4110567" y="461433"/>
                    <a:pt x="4093816" y="466477"/>
                    <a:pt x="4076700" y="469900"/>
                  </a:cubicBezTo>
                  <a:cubicBezTo>
                    <a:pt x="4051450" y="474950"/>
                    <a:pt x="4025482" y="476355"/>
                    <a:pt x="4000500" y="482600"/>
                  </a:cubicBezTo>
                  <a:cubicBezTo>
                    <a:pt x="3974525" y="489094"/>
                    <a:pt x="3951037" y="506593"/>
                    <a:pt x="3924300" y="508000"/>
                  </a:cubicBezTo>
                  <a:lnTo>
                    <a:pt x="3683000" y="520700"/>
                  </a:lnTo>
                  <a:lnTo>
                    <a:pt x="3568700" y="558800"/>
                  </a:lnTo>
                  <a:cubicBezTo>
                    <a:pt x="3556000" y="563033"/>
                    <a:pt x="3543587" y="568253"/>
                    <a:pt x="3530600" y="571500"/>
                  </a:cubicBezTo>
                  <a:lnTo>
                    <a:pt x="3429000" y="596900"/>
                  </a:lnTo>
                  <a:cubicBezTo>
                    <a:pt x="3317401" y="671299"/>
                    <a:pt x="3383176" y="650738"/>
                    <a:pt x="3225800" y="635000"/>
                  </a:cubicBezTo>
                  <a:cubicBezTo>
                    <a:pt x="3128174" y="569916"/>
                    <a:pt x="3179712" y="589219"/>
                    <a:pt x="3073400" y="571500"/>
                  </a:cubicBezTo>
                  <a:cubicBezTo>
                    <a:pt x="3069167" y="537633"/>
                    <a:pt x="3066805" y="503480"/>
                    <a:pt x="3060700" y="469900"/>
                  </a:cubicBezTo>
                  <a:cubicBezTo>
                    <a:pt x="3058305" y="456729"/>
                    <a:pt x="3051678" y="444672"/>
                    <a:pt x="3048000" y="431800"/>
                  </a:cubicBezTo>
                  <a:cubicBezTo>
                    <a:pt x="3009613" y="297445"/>
                    <a:pt x="3070261" y="485884"/>
                    <a:pt x="3009900" y="304800"/>
                  </a:cubicBezTo>
                  <a:cubicBezTo>
                    <a:pt x="3001534" y="279701"/>
                    <a:pt x="2994181" y="246505"/>
                    <a:pt x="2971800" y="228600"/>
                  </a:cubicBezTo>
                  <a:cubicBezTo>
                    <a:pt x="2958783" y="218186"/>
                    <a:pt x="2873362" y="203832"/>
                    <a:pt x="2870200" y="203200"/>
                  </a:cubicBezTo>
                  <a:cubicBezTo>
                    <a:pt x="2857625" y="165474"/>
                    <a:pt x="2849589" y="119089"/>
                    <a:pt x="2819400" y="88900"/>
                  </a:cubicBezTo>
                  <a:cubicBezTo>
                    <a:pt x="2798772" y="68272"/>
                    <a:pt x="2753742" y="51381"/>
                    <a:pt x="2730500" y="38100"/>
                  </a:cubicBezTo>
                  <a:cubicBezTo>
                    <a:pt x="2661566" y="-1291"/>
                    <a:pt x="2724154" y="23285"/>
                    <a:pt x="2654300" y="0"/>
                  </a:cubicBezTo>
                  <a:cubicBezTo>
                    <a:pt x="2616200" y="4233"/>
                    <a:pt x="2577590" y="5182"/>
                    <a:pt x="2540000" y="12700"/>
                  </a:cubicBezTo>
                  <a:cubicBezTo>
                    <a:pt x="2513746" y="17951"/>
                    <a:pt x="2489200" y="29633"/>
                    <a:pt x="2463800" y="38100"/>
                  </a:cubicBezTo>
                  <a:lnTo>
                    <a:pt x="2425700" y="50800"/>
                  </a:lnTo>
                  <a:cubicBezTo>
                    <a:pt x="2417233" y="63500"/>
                    <a:pt x="2407126" y="75248"/>
                    <a:pt x="2400300" y="88900"/>
                  </a:cubicBezTo>
                  <a:cubicBezTo>
                    <a:pt x="2394313" y="100874"/>
                    <a:pt x="2400668" y="124096"/>
                    <a:pt x="2387600" y="127000"/>
                  </a:cubicBezTo>
                  <a:cubicBezTo>
                    <a:pt x="2354283" y="134404"/>
                    <a:pt x="2319867" y="118533"/>
                    <a:pt x="2286000" y="114300"/>
                  </a:cubicBezTo>
                  <a:cubicBezTo>
                    <a:pt x="2253238" y="118980"/>
                    <a:pt x="2194466" y="121967"/>
                    <a:pt x="2159000" y="139700"/>
                  </a:cubicBezTo>
                  <a:cubicBezTo>
                    <a:pt x="2145348" y="146526"/>
                    <a:pt x="2134848" y="158901"/>
                    <a:pt x="2120900" y="165100"/>
                  </a:cubicBezTo>
                  <a:cubicBezTo>
                    <a:pt x="2096434" y="175974"/>
                    <a:pt x="2044700" y="190500"/>
                    <a:pt x="2044700" y="190500"/>
                  </a:cubicBezTo>
                  <a:cubicBezTo>
                    <a:pt x="2023533" y="186267"/>
                    <a:pt x="1999161" y="189774"/>
                    <a:pt x="1981200" y="177800"/>
                  </a:cubicBezTo>
                  <a:cubicBezTo>
                    <a:pt x="1970061" y="170374"/>
                    <a:pt x="1979393" y="147481"/>
                    <a:pt x="1968500" y="139700"/>
                  </a:cubicBezTo>
                  <a:cubicBezTo>
                    <a:pt x="1946713" y="124138"/>
                    <a:pt x="1917700" y="122767"/>
                    <a:pt x="1892300" y="114300"/>
                  </a:cubicBezTo>
                  <a:lnTo>
                    <a:pt x="1854200" y="101600"/>
                  </a:lnTo>
                  <a:cubicBezTo>
                    <a:pt x="1837267" y="105833"/>
                    <a:pt x="1820183" y="109505"/>
                    <a:pt x="1803400" y="114300"/>
                  </a:cubicBezTo>
                  <a:cubicBezTo>
                    <a:pt x="1790528" y="117978"/>
                    <a:pt x="1778687" y="127000"/>
                    <a:pt x="1765300" y="127000"/>
                  </a:cubicBezTo>
                  <a:cubicBezTo>
                    <a:pt x="1743714" y="127000"/>
                    <a:pt x="1722967" y="118533"/>
                    <a:pt x="1701800" y="114300"/>
                  </a:cubicBezTo>
                  <a:cubicBezTo>
                    <a:pt x="1693333" y="101600"/>
                    <a:pt x="1690489" y="82071"/>
                    <a:pt x="1676400" y="76200"/>
                  </a:cubicBezTo>
                  <a:cubicBezTo>
                    <a:pt x="1524520" y="12917"/>
                    <a:pt x="1566696" y="102689"/>
                    <a:pt x="1536700" y="12700"/>
                  </a:cubicBezTo>
                  <a:cubicBezTo>
                    <a:pt x="1399357" y="47036"/>
                    <a:pt x="1558000" y="12700"/>
                    <a:pt x="1257300" y="12700"/>
                  </a:cubicBezTo>
                  <a:cubicBezTo>
                    <a:pt x="1214756" y="12700"/>
                    <a:pt x="1172633" y="21167"/>
                    <a:pt x="1130300" y="25400"/>
                  </a:cubicBezTo>
                  <a:cubicBezTo>
                    <a:pt x="1104900" y="33867"/>
                    <a:pt x="1076377" y="35948"/>
                    <a:pt x="1054100" y="50800"/>
                  </a:cubicBezTo>
                  <a:cubicBezTo>
                    <a:pt x="1041400" y="59267"/>
                    <a:pt x="1029948" y="70001"/>
                    <a:pt x="1016000" y="76200"/>
                  </a:cubicBezTo>
                  <a:cubicBezTo>
                    <a:pt x="879980" y="136653"/>
                    <a:pt x="987925" y="69517"/>
                    <a:pt x="901700" y="127000"/>
                  </a:cubicBezTo>
                  <a:cubicBezTo>
                    <a:pt x="880293" y="159110"/>
                    <a:pt x="871111" y="165643"/>
                    <a:pt x="863600" y="203200"/>
                  </a:cubicBezTo>
                  <a:cubicBezTo>
                    <a:pt x="857729" y="232553"/>
                    <a:pt x="870612" y="269572"/>
                    <a:pt x="850900" y="292100"/>
                  </a:cubicBezTo>
                  <a:cubicBezTo>
                    <a:pt x="833943" y="311479"/>
                    <a:pt x="800100" y="300567"/>
                    <a:pt x="774700" y="304800"/>
                  </a:cubicBezTo>
                  <a:cubicBezTo>
                    <a:pt x="757767" y="330200"/>
                    <a:pt x="733553" y="352040"/>
                    <a:pt x="723900" y="381000"/>
                  </a:cubicBezTo>
                  <a:lnTo>
                    <a:pt x="698500" y="457200"/>
                  </a:lnTo>
                  <a:cubicBezTo>
                    <a:pt x="694267" y="469900"/>
                    <a:pt x="688001" y="482095"/>
                    <a:pt x="685800" y="495300"/>
                  </a:cubicBezTo>
                  <a:cubicBezTo>
                    <a:pt x="679452" y="533388"/>
                    <a:pt x="670062" y="614157"/>
                    <a:pt x="647700" y="647700"/>
                  </a:cubicBezTo>
                  <a:lnTo>
                    <a:pt x="596900" y="723900"/>
                  </a:lnTo>
                  <a:cubicBezTo>
                    <a:pt x="588433" y="736600"/>
                    <a:pt x="576327" y="747520"/>
                    <a:pt x="571500" y="762000"/>
                  </a:cubicBezTo>
                  <a:cubicBezTo>
                    <a:pt x="567267" y="774700"/>
                    <a:pt x="569693" y="792319"/>
                    <a:pt x="558800" y="800100"/>
                  </a:cubicBezTo>
                  <a:cubicBezTo>
                    <a:pt x="537013" y="815662"/>
                    <a:pt x="508000" y="817033"/>
                    <a:pt x="482600" y="825500"/>
                  </a:cubicBezTo>
                  <a:cubicBezTo>
                    <a:pt x="388131" y="856990"/>
                    <a:pt x="457853" y="837246"/>
                    <a:pt x="266700" y="850900"/>
                  </a:cubicBezTo>
                  <a:cubicBezTo>
                    <a:pt x="241300" y="867833"/>
                    <a:pt x="219460" y="892047"/>
                    <a:pt x="190500" y="901700"/>
                  </a:cubicBezTo>
                  <a:cubicBezTo>
                    <a:pt x="152315" y="914428"/>
                    <a:pt x="147126" y="912445"/>
                    <a:pt x="114300" y="939800"/>
                  </a:cubicBezTo>
                  <a:cubicBezTo>
                    <a:pt x="100502" y="951298"/>
                    <a:pt x="90377" y="966873"/>
                    <a:pt x="76200" y="977900"/>
                  </a:cubicBezTo>
                  <a:cubicBezTo>
                    <a:pt x="52103" y="996642"/>
                    <a:pt x="0" y="1028700"/>
                    <a:pt x="0" y="1028700"/>
                  </a:cubicBezTo>
                  <a:cubicBezTo>
                    <a:pt x="8467" y="1041400"/>
                    <a:pt x="19201" y="1052852"/>
                    <a:pt x="25400" y="1066800"/>
                  </a:cubicBezTo>
                  <a:cubicBezTo>
                    <a:pt x="36274" y="1091266"/>
                    <a:pt x="35948" y="1120723"/>
                    <a:pt x="50800" y="1143000"/>
                  </a:cubicBezTo>
                  <a:cubicBezTo>
                    <a:pt x="59267" y="1155700"/>
                    <a:pt x="62548" y="1174274"/>
                    <a:pt x="76200" y="1181100"/>
                  </a:cubicBezTo>
                  <a:lnTo>
                    <a:pt x="101600" y="1168400"/>
                  </a:lnTo>
                </a:path>
              </a:pathLst>
            </a:custGeom>
            <a:solidFill>
              <a:srgbClr val="FF0000">
                <a:alpha val="49000"/>
              </a:srgbClr>
            </a:solidFill>
            <a:ln w="762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2915" fontAlgn="base">
                <a:spcBef>
                  <a:spcPct val="0"/>
                </a:spcBef>
                <a:spcAft>
                  <a:spcPct val="0"/>
                </a:spcAft>
              </a:pPr>
              <a:endParaRPr lang="hu-HU" sz="800">
                <a:ln>
                  <a:solidFill>
                    <a:srgbClr val="FF0000"/>
                  </a:solidFill>
                </a:ln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6" name="Szabadkézi sokszög 5"/>
            <p:cNvSpPr/>
            <p:nvPr/>
          </p:nvSpPr>
          <p:spPr bwMode="auto">
            <a:xfrm>
              <a:off x="9077325" y="1609670"/>
              <a:ext cx="2505075" cy="2011080"/>
            </a:xfrm>
            <a:custGeom>
              <a:avLst/>
              <a:gdLst>
                <a:gd name="connsiteX0" fmla="*/ 0 w 2505075"/>
                <a:gd name="connsiteY0" fmla="*/ 1981255 h 2011080"/>
                <a:gd name="connsiteX1" fmla="*/ 161925 w 2505075"/>
                <a:gd name="connsiteY1" fmla="*/ 1990780 h 2011080"/>
                <a:gd name="connsiteX2" fmla="*/ 171450 w 2505075"/>
                <a:gd name="connsiteY2" fmla="*/ 1952680 h 2011080"/>
                <a:gd name="connsiteX3" fmla="*/ 228600 w 2505075"/>
                <a:gd name="connsiteY3" fmla="*/ 1933630 h 2011080"/>
                <a:gd name="connsiteX4" fmla="*/ 257175 w 2505075"/>
                <a:gd name="connsiteY4" fmla="*/ 1924105 h 2011080"/>
                <a:gd name="connsiteX5" fmla="*/ 266700 w 2505075"/>
                <a:gd name="connsiteY5" fmla="*/ 1895530 h 2011080"/>
                <a:gd name="connsiteX6" fmla="*/ 276225 w 2505075"/>
                <a:gd name="connsiteY6" fmla="*/ 1847905 h 2011080"/>
                <a:gd name="connsiteX7" fmla="*/ 295275 w 2505075"/>
                <a:gd name="connsiteY7" fmla="*/ 1819330 h 2011080"/>
                <a:gd name="connsiteX8" fmla="*/ 304800 w 2505075"/>
                <a:gd name="connsiteY8" fmla="*/ 1790755 h 2011080"/>
                <a:gd name="connsiteX9" fmla="*/ 333375 w 2505075"/>
                <a:gd name="connsiteY9" fmla="*/ 1781230 h 2011080"/>
                <a:gd name="connsiteX10" fmla="*/ 381000 w 2505075"/>
                <a:gd name="connsiteY10" fmla="*/ 1771705 h 2011080"/>
                <a:gd name="connsiteX11" fmla="*/ 400050 w 2505075"/>
                <a:gd name="connsiteY11" fmla="*/ 1714555 h 2011080"/>
                <a:gd name="connsiteX12" fmla="*/ 419100 w 2505075"/>
                <a:gd name="connsiteY12" fmla="*/ 1685980 h 2011080"/>
                <a:gd name="connsiteX13" fmla="*/ 438150 w 2505075"/>
                <a:gd name="connsiteY13" fmla="*/ 1628830 h 2011080"/>
                <a:gd name="connsiteX14" fmla="*/ 428625 w 2505075"/>
                <a:gd name="connsiteY14" fmla="*/ 1581205 h 2011080"/>
                <a:gd name="connsiteX15" fmla="*/ 409575 w 2505075"/>
                <a:gd name="connsiteY15" fmla="*/ 1524055 h 2011080"/>
                <a:gd name="connsiteX16" fmla="*/ 419100 w 2505075"/>
                <a:gd name="connsiteY16" fmla="*/ 1476430 h 2011080"/>
                <a:gd name="connsiteX17" fmla="*/ 447675 w 2505075"/>
                <a:gd name="connsiteY17" fmla="*/ 1466905 h 2011080"/>
                <a:gd name="connsiteX18" fmla="*/ 457200 w 2505075"/>
                <a:gd name="connsiteY18" fmla="*/ 1381180 h 2011080"/>
                <a:gd name="connsiteX19" fmla="*/ 514350 w 2505075"/>
                <a:gd name="connsiteY19" fmla="*/ 1362130 h 2011080"/>
                <a:gd name="connsiteX20" fmla="*/ 514350 w 2505075"/>
                <a:gd name="connsiteY20" fmla="*/ 1238305 h 2011080"/>
                <a:gd name="connsiteX21" fmla="*/ 533400 w 2505075"/>
                <a:gd name="connsiteY21" fmla="*/ 1181155 h 2011080"/>
                <a:gd name="connsiteX22" fmla="*/ 542925 w 2505075"/>
                <a:gd name="connsiteY22" fmla="*/ 1152580 h 2011080"/>
                <a:gd name="connsiteX23" fmla="*/ 523875 w 2505075"/>
                <a:gd name="connsiteY23" fmla="*/ 1124005 h 2011080"/>
                <a:gd name="connsiteX24" fmla="*/ 495300 w 2505075"/>
                <a:gd name="connsiteY24" fmla="*/ 1114480 h 2011080"/>
                <a:gd name="connsiteX25" fmla="*/ 476250 w 2505075"/>
                <a:gd name="connsiteY25" fmla="*/ 1057330 h 2011080"/>
                <a:gd name="connsiteX26" fmla="*/ 514350 w 2505075"/>
                <a:gd name="connsiteY26" fmla="*/ 1000180 h 2011080"/>
                <a:gd name="connsiteX27" fmla="*/ 571500 w 2505075"/>
                <a:gd name="connsiteY27" fmla="*/ 981130 h 2011080"/>
                <a:gd name="connsiteX28" fmla="*/ 657225 w 2505075"/>
                <a:gd name="connsiteY28" fmla="*/ 1000180 h 2011080"/>
                <a:gd name="connsiteX29" fmla="*/ 676275 w 2505075"/>
                <a:gd name="connsiteY29" fmla="*/ 1028755 h 2011080"/>
                <a:gd name="connsiteX30" fmla="*/ 742950 w 2505075"/>
                <a:gd name="connsiteY30" fmla="*/ 1019230 h 2011080"/>
                <a:gd name="connsiteX31" fmla="*/ 752475 w 2505075"/>
                <a:gd name="connsiteY31" fmla="*/ 962080 h 2011080"/>
                <a:gd name="connsiteX32" fmla="*/ 828675 w 2505075"/>
                <a:gd name="connsiteY32" fmla="*/ 971605 h 2011080"/>
                <a:gd name="connsiteX33" fmla="*/ 857250 w 2505075"/>
                <a:gd name="connsiteY33" fmla="*/ 990655 h 2011080"/>
                <a:gd name="connsiteX34" fmla="*/ 1000125 w 2505075"/>
                <a:gd name="connsiteY34" fmla="*/ 1009705 h 2011080"/>
                <a:gd name="connsiteX35" fmla="*/ 1057275 w 2505075"/>
                <a:gd name="connsiteY35" fmla="*/ 990655 h 2011080"/>
                <a:gd name="connsiteX36" fmla="*/ 1085850 w 2505075"/>
                <a:gd name="connsiteY36" fmla="*/ 981130 h 2011080"/>
                <a:gd name="connsiteX37" fmla="*/ 1114425 w 2505075"/>
                <a:gd name="connsiteY37" fmla="*/ 962080 h 2011080"/>
                <a:gd name="connsiteX38" fmla="*/ 1123950 w 2505075"/>
                <a:gd name="connsiteY38" fmla="*/ 933505 h 2011080"/>
                <a:gd name="connsiteX39" fmla="*/ 1114425 w 2505075"/>
                <a:gd name="connsiteY39" fmla="*/ 904930 h 2011080"/>
                <a:gd name="connsiteX40" fmla="*/ 1133475 w 2505075"/>
                <a:gd name="connsiteY40" fmla="*/ 847780 h 2011080"/>
                <a:gd name="connsiteX41" fmla="*/ 1123950 w 2505075"/>
                <a:gd name="connsiteY41" fmla="*/ 819205 h 2011080"/>
                <a:gd name="connsiteX42" fmla="*/ 1085850 w 2505075"/>
                <a:gd name="connsiteY42" fmla="*/ 762055 h 2011080"/>
                <a:gd name="connsiteX43" fmla="*/ 1104900 w 2505075"/>
                <a:gd name="connsiteY43" fmla="*/ 733480 h 2011080"/>
                <a:gd name="connsiteX44" fmla="*/ 1133475 w 2505075"/>
                <a:gd name="connsiteY44" fmla="*/ 714430 h 2011080"/>
                <a:gd name="connsiteX45" fmla="*/ 1143000 w 2505075"/>
                <a:gd name="connsiteY45" fmla="*/ 685855 h 2011080"/>
                <a:gd name="connsiteX46" fmla="*/ 1133475 w 2505075"/>
                <a:gd name="connsiteY46" fmla="*/ 647755 h 2011080"/>
                <a:gd name="connsiteX47" fmla="*/ 1238250 w 2505075"/>
                <a:gd name="connsiteY47" fmla="*/ 609655 h 2011080"/>
                <a:gd name="connsiteX48" fmla="*/ 1295400 w 2505075"/>
                <a:gd name="connsiteY48" fmla="*/ 590605 h 2011080"/>
                <a:gd name="connsiteX49" fmla="*/ 1323975 w 2505075"/>
                <a:gd name="connsiteY49" fmla="*/ 581080 h 2011080"/>
                <a:gd name="connsiteX50" fmla="*/ 1343025 w 2505075"/>
                <a:gd name="connsiteY50" fmla="*/ 552505 h 2011080"/>
                <a:gd name="connsiteX51" fmla="*/ 1371600 w 2505075"/>
                <a:gd name="connsiteY51" fmla="*/ 542980 h 2011080"/>
                <a:gd name="connsiteX52" fmla="*/ 1495425 w 2505075"/>
                <a:gd name="connsiteY52" fmla="*/ 552505 h 2011080"/>
                <a:gd name="connsiteX53" fmla="*/ 1552575 w 2505075"/>
                <a:gd name="connsiteY53" fmla="*/ 571555 h 2011080"/>
                <a:gd name="connsiteX54" fmla="*/ 1581150 w 2505075"/>
                <a:gd name="connsiteY54" fmla="*/ 581080 h 2011080"/>
                <a:gd name="connsiteX55" fmla="*/ 1628775 w 2505075"/>
                <a:gd name="connsiteY55" fmla="*/ 571555 h 2011080"/>
                <a:gd name="connsiteX56" fmla="*/ 1752600 w 2505075"/>
                <a:gd name="connsiteY56" fmla="*/ 552505 h 2011080"/>
                <a:gd name="connsiteX57" fmla="*/ 1781175 w 2505075"/>
                <a:gd name="connsiteY57" fmla="*/ 533455 h 2011080"/>
                <a:gd name="connsiteX58" fmla="*/ 1809750 w 2505075"/>
                <a:gd name="connsiteY58" fmla="*/ 476305 h 2011080"/>
                <a:gd name="connsiteX59" fmla="*/ 1885950 w 2505075"/>
                <a:gd name="connsiteY59" fmla="*/ 457255 h 2011080"/>
                <a:gd name="connsiteX60" fmla="*/ 1924050 w 2505075"/>
                <a:gd name="connsiteY60" fmla="*/ 447730 h 2011080"/>
                <a:gd name="connsiteX61" fmla="*/ 1981200 w 2505075"/>
                <a:gd name="connsiteY61" fmla="*/ 428680 h 2011080"/>
                <a:gd name="connsiteX62" fmla="*/ 2047875 w 2505075"/>
                <a:gd name="connsiteY62" fmla="*/ 419155 h 2011080"/>
                <a:gd name="connsiteX63" fmla="*/ 2114550 w 2505075"/>
                <a:gd name="connsiteY63" fmla="*/ 352480 h 2011080"/>
                <a:gd name="connsiteX64" fmla="*/ 2171700 w 2505075"/>
                <a:gd name="connsiteY64" fmla="*/ 314380 h 2011080"/>
                <a:gd name="connsiteX65" fmla="*/ 2200275 w 2505075"/>
                <a:gd name="connsiteY65" fmla="*/ 295330 h 2011080"/>
                <a:gd name="connsiteX66" fmla="*/ 2238375 w 2505075"/>
                <a:gd name="connsiteY66" fmla="*/ 238180 h 2011080"/>
                <a:gd name="connsiteX67" fmla="*/ 2314575 w 2505075"/>
                <a:gd name="connsiteY67" fmla="*/ 171505 h 2011080"/>
                <a:gd name="connsiteX68" fmla="*/ 2371725 w 2505075"/>
                <a:gd name="connsiteY68" fmla="*/ 152455 h 2011080"/>
                <a:gd name="connsiteX69" fmla="*/ 2428875 w 2505075"/>
                <a:gd name="connsiteY69" fmla="*/ 114355 h 2011080"/>
                <a:gd name="connsiteX70" fmla="*/ 2476500 w 2505075"/>
                <a:gd name="connsiteY70" fmla="*/ 28630 h 2011080"/>
                <a:gd name="connsiteX71" fmla="*/ 2505075 w 2505075"/>
                <a:gd name="connsiteY71" fmla="*/ 55 h 201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505075" h="2011080">
                  <a:moveTo>
                    <a:pt x="0" y="1981255"/>
                  </a:moveTo>
                  <a:cubicBezTo>
                    <a:pt x="60029" y="2001265"/>
                    <a:pt x="100429" y="2031777"/>
                    <a:pt x="161925" y="1990780"/>
                  </a:cubicBezTo>
                  <a:cubicBezTo>
                    <a:pt x="172817" y="1983518"/>
                    <a:pt x="161511" y="1961199"/>
                    <a:pt x="171450" y="1952680"/>
                  </a:cubicBezTo>
                  <a:cubicBezTo>
                    <a:pt x="186696" y="1939612"/>
                    <a:pt x="209550" y="1939980"/>
                    <a:pt x="228600" y="1933630"/>
                  </a:cubicBezTo>
                  <a:lnTo>
                    <a:pt x="257175" y="1924105"/>
                  </a:lnTo>
                  <a:cubicBezTo>
                    <a:pt x="260350" y="1914580"/>
                    <a:pt x="264265" y="1905270"/>
                    <a:pt x="266700" y="1895530"/>
                  </a:cubicBezTo>
                  <a:cubicBezTo>
                    <a:pt x="270627" y="1879824"/>
                    <a:pt x="270541" y="1863064"/>
                    <a:pt x="276225" y="1847905"/>
                  </a:cubicBezTo>
                  <a:cubicBezTo>
                    <a:pt x="280245" y="1837186"/>
                    <a:pt x="290155" y="1829569"/>
                    <a:pt x="295275" y="1819330"/>
                  </a:cubicBezTo>
                  <a:cubicBezTo>
                    <a:pt x="299765" y="1810350"/>
                    <a:pt x="297700" y="1797855"/>
                    <a:pt x="304800" y="1790755"/>
                  </a:cubicBezTo>
                  <a:cubicBezTo>
                    <a:pt x="311900" y="1783655"/>
                    <a:pt x="323635" y="1783665"/>
                    <a:pt x="333375" y="1781230"/>
                  </a:cubicBezTo>
                  <a:cubicBezTo>
                    <a:pt x="349081" y="1777303"/>
                    <a:pt x="365125" y="1774880"/>
                    <a:pt x="381000" y="1771705"/>
                  </a:cubicBezTo>
                  <a:cubicBezTo>
                    <a:pt x="387350" y="1752655"/>
                    <a:pt x="388911" y="1731263"/>
                    <a:pt x="400050" y="1714555"/>
                  </a:cubicBezTo>
                  <a:cubicBezTo>
                    <a:pt x="406400" y="1705030"/>
                    <a:pt x="414451" y="1696441"/>
                    <a:pt x="419100" y="1685980"/>
                  </a:cubicBezTo>
                  <a:cubicBezTo>
                    <a:pt x="427255" y="1667630"/>
                    <a:pt x="438150" y="1628830"/>
                    <a:pt x="438150" y="1628830"/>
                  </a:cubicBezTo>
                  <a:cubicBezTo>
                    <a:pt x="434975" y="1612955"/>
                    <a:pt x="432885" y="1596824"/>
                    <a:pt x="428625" y="1581205"/>
                  </a:cubicBezTo>
                  <a:cubicBezTo>
                    <a:pt x="423341" y="1561832"/>
                    <a:pt x="409575" y="1524055"/>
                    <a:pt x="409575" y="1524055"/>
                  </a:cubicBezTo>
                  <a:cubicBezTo>
                    <a:pt x="412750" y="1508180"/>
                    <a:pt x="410120" y="1489900"/>
                    <a:pt x="419100" y="1476430"/>
                  </a:cubicBezTo>
                  <a:cubicBezTo>
                    <a:pt x="424669" y="1468076"/>
                    <a:pt x="443946" y="1476227"/>
                    <a:pt x="447675" y="1466905"/>
                  </a:cubicBezTo>
                  <a:cubicBezTo>
                    <a:pt x="458353" y="1440211"/>
                    <a:pt x="441764" y="1405436"/>
                    <a:pt x="457200" y="1381180"/>
                  </a:cubicBezTo>
                  <a:cubicBezTo>
                    <a:pt x="467981" y="1364239"/>
                    <a:pt x="514350" y="1362130"/>
                    <a:pt x="514350" y="1362130"/>
                  </a:cubicBezTo>
                  <a:cubicBezTo>
                    <a:pt x="504887" y="1295889"/>
                    <a:pt x="498731" y="1300780"/>
                    <a:pt x="514350" y="1238305"/>
                  </a:cubicBezTo>
                  <a:cubicBezTo>
                    <a:pt x="519220" y="1218824"/>
                    <a:pt x="527050" y="1200205"/>
                    <a:pt x="533400" y="1181155"/>
                  </a:cubicBezTo>
                  <a:lnTo>
                    <a:pt x="542925" y="1152580"/>
                  </a:lnTo>
                  <a:cubicBezTo>
                    <a:pt x="536575" y="1143055"/>
                    <a:pt x="532814" y="1131156"/>
                    <a:pt x="523875" y="1124005"/>
                  </a:cubicBezTo>
                  <a:cubicBezTo>
                    <a:pt x="516035" y="1117733"/>
                    <a:pt x="501136" y="1122650"/>
                    <a:pt x="495300" y="1114480"/>
                  </a:cubicBezTo>
                  <a:cubicBezTo>
                    <a:pt x="483628" y="1098140"/>
                    <a:pt x="476250" y="1057330"/>
                    <a:pt x="476250" y="1057330"/>
                  </a:cubicBezTo>
                  <a:cubicBezTo>
                    <a:pt x="485200" y="1030480"/>
                    <a:pt x="485162" y="1016396"/>
                    <a:pt x="514350" y="1000180"/>
                  </a:cubicBezTo>
                  <a:cubicBezTo>
                    <a:pt x="531903" y="990428"/>
                    <a:pt x="571500" y="981130"/>
                    <a:pt x="571500" y="981130"/>
                  </a:cubicBezTo>
                  <a:cubicBezTo>
                    <a:pt x="572085" y="981227"/>
                    <a:pt x="644884" y="990307"/>
                    <a:pt x="657225" y="1000180"/>
                  </a:cubicBezTo>
                  <a:cubicBezTo>
                    <a:pt x="666164" y="1007331"/>
                    <a:pt x="669925" y="1019230"/>
                    <a:pt x="676275" y="1028755"/>
                  </a:cubicBezTo>
                  <a:cubicBezTo>
                    <a:pt x="698500" y="1025580"/>
                    <a:pt x="726054" y="1034014"/>
                    <a:pt x="742950" y="1019230"/>
                  </a:cubicBezTo>
                  <a:cubicBezTo>
                    <a:pt x="757484" y="1006512"/>
                    <a:pt x="735593" y="971459"/>
                    <a:pt x="752475" y="962080"/>
                  </a:cubicBezTo>
                  <a:cubicBezTo>
                    <a:pt x="774851" y="949649"/>
                    <a:pt x="803275" y="968430"/>
                    <a:pt x="828675" y="971605"/>
                  </a:cubicBezTo>
                  <a:cubicBezTo>
                    <a:pt x="838200" y="977955"/>
                    <a:pt x="847011" y="985535"/>
                    <a:pt x="857250" y="990655"/>
                  </a:cubicBezTo>
                  <a:cubicBezTo>
                    <a:pt x="896157" y="1010109"/>
                    <a:pt x="974589" y="1007577"/>
                    <a:pt x="1000125" y="1009705"/>
                  </a:cubicBezTo>
                  <a:lnTo>
                    <a:pt x="1057275" y="990655"/>
                  </a:lnTo>
                  <a:cubicBezTo>
                    <a:pt x="1066800" y="987480"/>
                    <a:pt x="1077496" y="986699"/>
                    <a:pt x="1085850" y="981130"/>
                  </a:cubicBezTo>
                  <a:lnTo>
                    <a:pt x="1114425" y="962080"/>
                  </a:lnTo>
                  <a:cubicBezTo>
                    <a:pt x="1117600" y="952555"/>
                    <a:pt x="1123950" y="943545"/>
                    <a:pt x="1123950" y="933505"/>
                  </a:cubicBezTo>
                  <a:cubicBezTo>
                    <a:pt x="1123950" y="923465"/>
                    <a:pt x="1113316" y="914909"/>
                    <a:pt x="1114425" y="904930"/>
                  </a:cubicBezTo>
                  <a:cubicBezTo>
                    <a:pt x="1116643" y="884972"/>
                    <a:pt x="1133475" y="847780"/>
                    <a:pt x="1133475" y="847780"/>
                  </a:cubicBezTo>
                  <a:cubicBezTo>
                    <a:pt x="1130300" y="838255"/>
                    <a:pt x="1128826" y="827982"/>
                    <a:pt x="1123950" y="819205"/>
                  </a:cubicBezTo>
                  <a:cubicBezTo>
                    <a:pt x="1112831" y="799191"/>
                    <a:pt x="1085850" y="762055"/>
                    <a:pt x="1085850" y="762055"/>
                  </a:cubicBezTo>
                  <a:cubicBezTo>
                    <a:pt x="1092200" y="752530"/>
                    <a:pt x="1096805" y="741575"/>
                    <a:pt x="1104900" y="733480"/>
                  </a:cubicBezTo>
                  <a:cubicBezTo>
                    <a:pt x="1112995" y="725385"/>
                    <a:pt x="1126324" y="723369"/>
                    <a:pt x="1133475" y="714430"/>
                  </a:cubicBezTo>
                  <a:cubicBezTo>
                    <a:pt x="1139747" y="706590"/>
                    <a:pt x="1139825" y="695380"/>
                    <a:pt x="1143000" y="685855"/>
                  </a:cubicBezTo>
                  <a:cubicBezTo>
                    <a:pt x="1139825" y="673155"/>
                    <a:pt x="1131624" y="660714"/>
                    <a:pt x="1133475" y="647755"/>
                  </a:cubicBezTo>
                  <a:cubicBezTo>
                    <a:pt x="1140531" y="598363"/>
                    <a:pt x="1211324" y="612647"/>
                    <a:pt x="1238250" y="609655"/>
                  </a:cubicBezTo>
                  <a:lnTo>
                    <a:pt x="1295400" y="590605"/>
                  </a:lnTo>
                  <a:lnTo>
                    <a:pt x="1323975" y="581080"/>
                  </a:lnTo>
                  <a:cubicBezTo>
                    <a:pt x="1330325" y="571555"/>
                    <a:pt x="1334086" y="559656"/>
                    <a:pt x="1343025" y="552505"/>
                  </a:cubicBezTo>
                  <a:cubicBezTo>
                    <a:pt x="1350865" y="546233"/>
                    <a:pt x="1361560" y="542980"/>
                    <a:pt x="1371600" y="542980"/>
                  </a:cubicBezTo>
                  <a:cubicBezTo>
                    <a:pt x="1412997" y="542980"/>
                    <a:pt x="1454150" y="549330"/>
                    <a:pt x="1495425" y="552505"/>
                  </a:cubicBezTo>
                  <a:lnTo>
                    <a:pt x="1552575" y="571555"/>
                  </a:lnTo>
                  <a:lnTo>
                    <a:pt x="1581150" y="581080"/>
                  </a:lnTo>
                  <a:cubicBezTo>
                    <a:pt x="1597025" y="577905"/>
                    <a:pt x="1612748" y="573845"/>
                    <a:pt x="1628775" y="571555"/>
                  </a:cubicBezTo>
                  <a:cubicBezTo>
                    <a:pt x="1756766" y="553271"/>
                    <a:pt x="1673287" y="572333"/>
                    <a:pt x="1752600" y="552505"/>
                  </a:cubicBezTo>
                  <a:cubicBezTo>
                    <a:pt x="1762125" y="546155"/>
                    <a:pt x="1774024" y="542394"/>
                    <a:pt x="1781175" y="533455"/>
                  </a:cubicBezTo>
                  <a:cubicBezTo>
                    <a:pt x="1811851" y="495110"/>
                    <a:pt x="1765142" y="511991"/>
                    <a:pt x="1809750" y="476305"/>
                  </a:cubicBezTo>
                  <a:cubicBezTo>
                    <a:pt x="1819570" y="468449"/>
                    <a:pt x="1883487" y="457802"/>
                    <a:pt x="1885950" y="457255"/>
                  </a:cubicBezTo>
                  <a:cubicBezTo>
                    <a:pt x="1898729" y="454415"/>
                    <a:pt x="1911511" y="451492"/>
                    <a:pt x="1924050" y="447730"/>
                  </a:cubicBezTo>
                  <a:cubicBezTo>
                    <a:pt x="1943284" y="441960"/>
                    <a:pt x="1961321" y="431520"/>
                    <a:pt x="1981200" y="428680"/>
                  </a:cubicBezTo>
                  <a:lnTo>
                    <a:pt x="2047875" y="419155"/>
                  </a:lnTo>
                  <a:cubicBezTo>
                    <a:pt x="2118530" y="313172"/>
                    <a:pt x="2052420" y="386996"/>
                    <a:pt x="2114550" y="352480"/>
                  </a:cubicBezTo>
                  <a:cubicBezTo>
                    <a:pt x="2134564" y="341361"/>
                    <a:pt x="2152650" y="327080"/>
                    <a:pt x="2171700" y="314380"/>
                  </a:cubicBezTo>
                  <a:lnTo>
                    <a:pt x="2200275" y="295330"/>
                  </a:lnTo>
                  <a:cubicBezTo>
                    <a:pt x="2217014" y="245112"/>
                    <a:pt x="2198737" y="285746"/>
                    <a:pt x="2238375" y="238180"/>
                  </a:cubicBezTo>
                  <a:cubicBezTo>
                    <a:pt x="2268293" y="202278"/>
                    <a:pt x="2251563" y="192509"/>
                    <a:pt x="2314575" y="171505"/>
                  </a:cubicBezTo>
                  <a:cubicBezTo>
                    <a:pt x="2333625" y="165155"/>
                    <a:pt x="2355017" y="163594"/>
                    <a:pt x="2371725" y="152455"/>
                  </a:cubicBezTo>
                  <a:lnTo>
                    <a:pt x="2428875" y="114355"/>
                  </a:lnTo>
                  <a:cubicBezTo>
                    <a:pt x="2445640" y="64060"/>
                    <a:pt x="2432831" y="94134"/>
                    <a:pt x="2476500" y="28630"/>
                  </a:cubicBezTo>
                  <a:cubicBezTo>
                    <a:pt x="2497311" y="-2587"/>
                    <a:pt x="2484102" y="55"/>
                    <a:pt x="2505075" y="55"/>
                  </a:cubicBezTo>
                </a:path>
              </a:pathLst>
            </a:cu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2915" fontAlgn="base">
                <a:spcBef>
                  <a:spcPct val="0"/>
                </a:spcBef>
                <a:spcAft>
                  <a:spcPct val="0"/>
                </a:spcAft>
              </a:pPr>
              <a:endParaRPr lang="hu-HU" sz="8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7" name="Szabadkézi sokszög 6"/>
            <p:cNvSpPr/>
            <p:nvPr/>
          </p:nvSpPr>
          <p:spPr bwMode="auto">
            <a:xfrm>
              <a:off x="9629775" y="2809875"/>
              <a:ext cx="1895475" cy="1038225"/>
            </a:xfrm>
            <a:custGeom>
              <a:avLst/>
              <a:gdLst>
                <a:gd name="connsiteX0" fmla="*/ 0 w 1895475"/>
                <a:gd name="connsiteY0" fmla="*/ 0 h 1038225"/>
                <a:gd name="connsiteX1" fmla="*/ 85725 w 1895475"/>
                <a:gd name="connsiteY1" fmla="*/ 19050 h 1038225"/>
                <a:gd name="connsiteX2" fmla="*/ 114300 w 1895475"/>
                <a:gd name="connsiteY2" fmla="*/ 38100 h 1038225"/>
                <a:gd name="connsiteX3" fmla="*/ 161925 w 1895475"/>
                <a:gd name="connsiteY3" fmla="*/ 47625 h 1038225"/>
                <a:gd name="connsiteX4" fmla="*/ 190500 w 1895475"/>
                <a:gd name="connsiteY4" fmla="*/ 66675 h 1038225"/>
                <a:gd name="connsiteX5" fmla="*/ 200025 w 1895475"/>
                <a:gd name="connsiteY5" fmla="*/ 95250 h 1038225"/>
                <a:gd name="connsiteX6" fmla="*/ 257175 w 1895475"/>
                <a:gd name="connsiteY6" fmla="*/ 133350 h 1038225"/>
                <a:gd name="connsiteX7" fmla="*/ 285750 w 1895475"/>
                <a:gd name="connsiteY7" fmla="*/ 152400 h 1038225"/>
                <a:gd name="connsiteX8" fmla="*/ 381000 w 1895475"/>
                <a:gd name="connsiteY8" fmla="*/ 142875 h 1038225"/>
                <a:gd name="connsiteX9" fmla="*/ 409575 w 1895475"/>
                <a:gd name="connsiteY9" fmla="*/ 133350 h 1038225"/>
                <a:gd name="connsiteX10" fmla="*/ 457200 w 1895475"/>
                <a:gd name="connsiteY10" fmla="*/ 123825 h 1038225"/>
                <a:gd name="connsiteX11" fmla="*/ 561975 w 1895475"/>
                <a:gd name="connsiteY11" fmla="*/ 133350 h 1038225"/>
                <a:gd name="connsiteX12" fmla="*/ 685800 w 1895475"/>
                <a:gd name="connsiteY12" fmla="*/ 104775 h 1038225"/>
                <a:gd name="connsiteX13" fmla="*/ 714375 w 1895475"/>
                <a:gd name="connsiteY13" fmla="*/ 85725 h 1038225"/>
                <a:gd name="connsiteX14" fmla="*/ 790575 w 1895475"/>
                <a:gd name="connsiteY14" fmla="*/ 95250 h 1038225"/>
                <a:gd name="connsiteX15" fmla="*/ 800100 w 1895475"/>
                <a:gd name="connsiteY15" fmla="*/ 133350 h 1038225"/>
                <a:gd name="connsiteX16" fmla="*/ 809625 w 1895475"/>
                <a:gd name="connsiteY16" fmla="*/ 161925 h 1038225"/>
                <a:gd name="connsiteX17" fmla="*/ 800100 w 1895475"/>
                <a:gd name="connsiteY17" fmla="*/ 200025 h 1038225"/>
                <a:gd name="connsiteX18" fmla="*/ 790575 w 1895475"/>
                <a:gd name="connsiteY18" fmla="*/ 228600 h 1038225"/>
                <a:gd name="connsiteX19" fmla="*/ 809625 w 1895475"/>
                <a:gd name="connsiteY19" fmla="*/ 342900 h 1038225"/>
                <a:gd name="connsiteX20" fmla="*/ 800100 w 1895475"/>
                <a:gd name="connsiteY20" fmla="*/ 371475 h 1038225"/>
                <a:gd name="connsiteX21" fmla="*/ 790575 w 1895475"/>
                <a:gd name="connsiteY21" fmla="*/ 428625 h 1038225"/>
                <a:gd name="connsiteX22" fmla="*/ 819150 w 1895475"/>
                <a:gd name="connsiteY22" fmla="*/ 447675 h 1038225"/>
                <a:gd name="connsiteX23" fmla="*/ 838200 w 1895475"/>
                <a:gd name="connsiteY23" fmla="*/ 476250 h 1038225"/>
                <a:gd name="connsiteX24" fmla="*/ 885825 w 1895475"/>
                <a:gd name="connsiteY24" fmla="*/ 552450 h 1038225"/>
                <a:gd name="connsiteX25" fmla="*/ 923925 w 1895475"/>
                <a:gd name="connsiteY25" fmla="*/ 561975 h 1038225"/>
                <a:gd name="connsiteX26" fmla="*/ 933450 w 1895475"/>
                <a:gd name="connsiteY26" fmla="*/ 590550 h 1038225"/>
                <a:gd name="connsiteX27" fmla="*/ 942975 w 1895475"/>
                <a:gd name="connsiteY27" fmla="*/ 638175 h 1038225"/>
                <a:gd name="connsiteX28" fmla="*/ 962025 w 1895475"/>
                <a:gd name="connsiteY28" fmla="*/ 666750 h 1038225"/>
                <a:gd name="connsiteX29" fmla="*/ 1095375 w 1895475"/>
                <a:gd name="connsiteY29" fmla="*/ 676275 h 1038225"/>
                <a:gd name="connsiteX30" fmla="*/ 1133475 w 1895475"/>
                <a:gd name="connsiteY30" fmla="*/ 685800 h 1038225"/>
                <a:gd name="connsiteX31" fmla="*/ 1143000 w 1895475"/>
                <a:gd name="connsiteY31" fmla="*/ 714375 h 1038225"/>
                <a:gd name="connsiteX32" fmla="*/ 1171575 w 1895475"/>
                <a:gd name="connsiteY32" fmla="*/ 733425 h 1038225"/>
                <a:gd name="connsiteX33" fmla="*/ 1209675 w 1895475"/>
                <a:gd name="connsiteY33" fmla="*/ 742950 h 1038225"/>
                <a:gd name="connsiteX34" fmla="*/ 1266825 w 1895475"/>
                <a:gd name="connsiteY34" fmla="*/ 762000 h 1038225"/>
                <a:gd name="connsiteX35" fmla="*/ 1276350 w 1895475"/>
                <a:gd name="connsiteY35" fmla="*/ 790575 h 1038225"/>
                <a:gd name="connsiteX36" fmla="*/ 1304925 w 1895475"/>
                <a:gd name="connsiteY36" fmla="*/ 800100 h 1038225"/>
                <a:gd name="connsiteX37" fmla="*/ 1390650 w 1895475"/>
                <a:gd name="connsiteY37" fmla="*/ 790575 h 1038225"/>
                <a:gd name="connsiteX38" fmla="*/ 1409700 w 1895475"/>
                <a:gd name="connsiteY38" fmla="*/ 733425 h 1038225"/>
                <a:gd name="connsiteX39" fmla="*/ 1495425 w 1895475"/>
                <a:gd name="connsiteY39" fmla="*/ 685800 h 1038225"/>
                <a:gd name="connsiteX40" fmla="*/ 1562100 w 1895475"/>
                <a:gd name="connsiteY40" fmla="*/ 714375 h 1038225"/>
                <a:gd name="connsiteX41" fmla="*/ 1619250 w 1895475"/>
                <a:gd name="connsiteY41" fmla="*/ 733425 h 1038225"/>
                <a:gd name="connsiteX42" fmla="*/ 1628775 w 1895475"/>
                <a:gd name="connsiteY42" fmla="*/ 762000 h 1038225"/>
                <a:gd name="connsiteX43" fmla="*/ 1638300 w 1895475"/>
                <a:gd name="connsiteY43" fmla="*/ 819150 h 1038225"/>
                <a:gd name="connsiteX44" fmla="*/ 1657350 w 1895475"/>
                <a:gd name="connsiteY44" fmla="*/ 847725 h 1038225"/>
                <a:gd name="connsiteX45" fmla="*/ 1676400 w 1895475"/>
                <a:gd name="connsiteY45" fmla="*/ 904875 h 1038225"/>
                <a:gd name="connsiteX46" fmla="*/ 1743075 w 1895475"/>
                <a:gd name="connsiteY46" fmla="*/ 895350 h 1038225"/>
                <a:gd name="connsiteX47" fmla="*/ 1762125 w 1895475"/>
                <a:gd name="connsiteY47" fmla="*/ 866775 h 1038225"/>
                <a:gd name="connsiteX48" fmla="*/ 1790700 w 1895475"/>
                <a:gd name="connsiteY48" fmla="*/ 847725 h 1038225"/>
                <a:gd name="connsiteX49" fmla="*/ 1819275 w 1895475"/>
                <a:gd name="connsiteY49" fmla="*/ 857250 h 1038225"/>
                <a:gd name="connsiteX50" fmla="*/ 1838325 w 1895475"/>
                <a:gd name="connsiteY50" fmla="*/ 923925 h 1038225"/>
                <a:gd name="connsiteX51" fmla="*/ 1857375 w 1895475"/>
                <a:gd name="connsiteY51" fmla="*/ 981075 h 1038225"/>
                <a:gd name="connsiteX52" fmla="*/ 1885950 w 1895475"/>
                <a:gd name="connsiteY52" fmla="*/ 1000125 h 1038225"/>
                <a:gd name="connsiteX53" fmla="*/ 1895475 w 1895475"/>
                <a:gd name="connsiteY53" fmla="*/ 1038225 h 103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895475" h="1038225">
                  <a:moveTo>
                    <a:pt x="0" y="0"/>
                  </a:moveTo>
                  <a:cubicBezTo>
                    <a:pt x="28575" y="6350"/>
                    <a:pt x="57955" y="9793"/>
                    <a:pt x="85725" y="19050"/>
                  </a:cubicBezTo>
                  <a:cubicBezTo>
                    <a:pt x="96585" y="22670"/>
                    <a:pt x="103581" y="34080"/>
                    <a:pt x="114300" y="38100"/>
                  </a:cubicBezTo>
                  <a:cubicBezTo>
                    <a:pt x="129459" y="43784"/>
                    <a:pt x="146050" y="44450"/>
                    <a:pt x="161925" y="47625"/>
                  </a:cubicBezTo>
                  <a:cubicBezTo>
                    <a:pt x="171450" y="53975"/>
                    <a:pt x="183349" y="57736"/>
                    <a:pt x="190500" y="66675"/>
                  </a:cubicBezTo>
                  <a:cubicBezTo>
                    <a:pt x="196772" y="74515"/>
                    <a:pt x="192925" y="88150"/>
                    <a:pt x="200025" y="95250"/>
                  </a:cubicBezTo>
                  <a:cubicBezTo>
                    <a:pt x="216214" y="111439"/>
                    <a:pt x="238125" y="120650"/>
                    <a:pt x="257175" y="133350"/>
                  </a:cubicBezTo>
                  <a:lnTo>
                    <a:pt x="285750" y="152400"/>
                  </a:lnTo>
                  <a:cubicBezTo>
                    <a:pt x="317500" y="149225"/>
                    <a:pt x="349463" y="147727"/>
                    <a:pt x="381000" y="142875"/>
                  </a:cubicBezTo>
                  <a:cubicBezTo>
                    <a:pt x="390923" y="141348"/>
                    <a:pt x="399835" y="135785"/>
                    <a:pt x="409575" y="133350"/>
                  </a:cubicBezTo>
                  <a:cubicBezTo>
                    <a:pt x="425281" y="129423"/>
                    <a:pt x="441325" y="127000"/>
                    <a:pt x="457200" y="123825"/>
                  </a:cubicBezTo>
                  <a:cubicBezTo>
                    <a:pt x="492125" y="127000"/>
                    <a:pt x="526906" y="133350"/>
                    <a:pt x="561975" y="133350"/>
                  </a:cubicBezTo>
                  <a:cubicBezTo>
                    <a:pt x="586127" y="133350"/>
                    <a:pt x="663165" y="119865"/>
                    <a:pt x="685800" y="104775"/>
                  </a:cubicBezTo>
                  <a:lnTo>
                    <a:pt x="714375" y="85725"/>
                  </a:lnTo>
                  <a:cubicBezTo>
                    <a:pt x="739775" y="88900"/>
                    <a:pt x="768199" y="82819"/>
                    <a:pt x="790575" y="95250"/>
                  </a:cubicBezTo>
                  <a:cubicBezTo>
                    <a:pt x="802018" y="101607"/>
                    <a:pt x="796504" y="120763"/>
                    <a:pt x="800100" y="133350"/>
                  </a:cubicBezTo>
                  <a:cubicBezTo>
                    <a:pt x="802858" y="143004"/>
                    <a:pt x="806450" y="152400"/>
                    <a:pt x="809625" y="161925"/>
                  </a:cubicBezTo>
                  <a:cubicBezTo>
                    <a:pt x="806450" y="174625"/>
                    <a:pt x="803696" y="187438"/>
                    <a:pt x="800100" y="200025"/>
                  </a:cubicBezTo>
                  <a:cubicBezTo>
                    <a:pt x="797342" y="209679"/>
                    <a:pt x="790575" y="218560"/>
                    <a:pt x="790575" y="228600"/>
                  </a:cubicBezTo>
                  <a:cubicBezTo>
                    <a:pt x="790575" y="252229"/>
                    <a:pt x="804217" y="315858"/>
                    <a:pt x="809625" y="342900"/>
                  </a:cubicBezTo>
                  <a:cubicBezTo>
                    <a:pt x="806450" y="352425"/>
                    <a:pt x="804590" y="362495"/>
                    <a:pt x="800100" y="371475"/>
                  </a:cubicBezTo>
                  <a:cubicBezTo>
                    <a:pt x="787339" y="396998"/>
                    <a:pt x="767030" y="399194"/>
                    <a:pt x="790575" y="428625"/>
                  </a:cubicBezTo>
                  <a:cubicBezTo>
                    <a:pt x="797726" y="437564"/>
                    <a:pt x="809625" y="441325"/>
                    <a:pt x="819150" y="447675"/>
                  </a:cubicBezTo>
                  <a:cubicBezTo>
                    <a:pt x="825500" y="457200"/>
                    <a:pt x="833551" y="465789"/>
                    <a:pt x="838200" y="476250"/>
                  </a:cubicBezTo>
                  <a:cubicBezTo>
                    <a:pt x="859822" y="524899"/>
                    <a:pt x="841140" y="533299"/>
                    <a:pt x="885825" y="552450"/>
                  </a:cubicBezTo>
                  <a:cubicBezTo>
                    <a:pt x="897857" y="557607"/>
                    <a:pt x="911225" y="558800"/>
                    <a:pt x="923925" y="561975"/>
                  </a:cubicBezTo>
                  <a:cubicBezTo>
                    <a:pt x="927100" y="571500"/>
                    <a:pt x="931015" y="580810"/>
                    <a:pt x="933450" y="590550"/>
                  </a:cubicBezTo>
                  <a:cubicBezTo>
                    <a:pt x="937377" y="606256"/>
                    <a:pt x="937291" y="623016"/>
                    <a:pt x="942975" y="638175"/>
                  </a:cubicBezTo>
                  <a:cubicBezTo>
                    <a:pt x="946995" y="648894"/>
                    <a:pt x="950919" y="663974"/>
                    <a:pt x="962025" y="666750"/>
                  </a:cubicBezTo>
                  <a:cubicBezTo>
                    <a:pt x="1005258" y="677558"/>
                    <a:pt x="1050925" y="673100"/>
                    <a:pt x="1095375" y="676275"/>
                  </a:cubicBezTo>
                  <a:cubicBezTo>
                    <a:pt x="1108075" y="679450"/>
                    <a:pt x="1123253" y="677622"/>
                    <a:pt x="1133475" y="685800"/>
                  </a:cubicBezTo>
                  <a:cubicBezTo>
                    <a:pt x="1141315" y="692072"/>
                    <a:pt x="1136728" y="706535"/>
                    <a:pt x="1143000" y="714375"/>
                  </a:cubicBezTo>
                  <a:cubicBezTo>
                    <a:pt x="1150151" y="723314"/>
                    <a:pt x="1162050" y="727075"/>
                    <a:pt x="1171575" y="733425"/>
                  </a:cubicBezTo>
                  <a:cubicBezTo>
                    <a:pt x="1191918" y="794453"/>
                    <a:pt x="1164540" y="742950"/>
                    <a:pt x="1209675" y="742950"/>
                  </a:cubicBezTo>
                  <a:cubicBezTo>
                    <a:pt x="1229755" y="742950"/>
                    <a:pt x="1266825" y="762000"/>
                    <a:pt x="1266825" y="762000"/>
                  </a:cubicBezTo>
                  <a:cubicBezTo>
                    <a:pt x="1270000" y="771525"/>
                    <a:pt x="1269250" y="783475"/>
                    <a:pt x="1276350" y="790575"/>
                  </a:cubicBezTo>
                  <a:cubicBezTo>
                    <a:pt x="1283450" y="797675"/>
                    <a:pt x="1294885" y="800100"/>
                    <a:pt x="1304925" y="800100"/>
                  </a:cubicBezTo>
                  <a:cubicBezTo>
                    <a:pt x="1333676" y="800100"/>
                    <a:pt x="1362075" y="793750"/>
                    <a:pt x="1390650" y="790575"/>
                  </a:cubicBezTo>
                  <a:cubicBezTo>
                    <a:pt x="1397000" y="771525"/>
                    <a:pt x="1392992" y="744564"/>
                    <a:pt x="1409700" y="733425"/>
                  </a:cubicBezTo>
                  <a:cubicBezTo>
                    <a:pt x="1475204" y="689756"/>
                    <a:pt x="1445130" y="702565"/>
                    <a:pt x="1495425" y="685800"/>
                  </a:cubicBezTo>
                  <a:cubicBezTo>
                    <a:pt x="1596211" y="710996"/>
                    <a:pt x="1477527" y="676787"/>
                    <a:pt x="1562100" y="714375"/>
                  </a:cubicBezTo>
                  <a:cubicBezTo>
                    <a:pt x="1580450" y="722530"/>
                    <a:pt x="1619250" y="733425"/>
                    <a:pt x="1619250" y="733425"/>
                  </a:cubicBezTo>
                  <a:cubicBezTo>
                    <a:pt x="1622425" y="742950"/>
                    <a:pt x="1626597" y="752199"/>
                    <a:pt x="1628775" y="762000"/>
                  </a:cubicBezTo>
                  <a:cubicBezTo>
                    <a:pt x="1632965" y="780853"/>
                    <a:pt x="1632193" y="800828"/>
                    <a:pt x="1638300" y="819150"/>
                  </a:cubicBezTo>
                  <a:cubicBezTo>
                    <a:pt x="1641920" y="830010"/>
                    <a:pt x="1652701" y="837264"/>
                    <a:pt x="1657350" y="847725"/>
                  </a:cubicBezTo>
                  <a:cubicBezTo>
                    <a:pt x="1665505" y="866075"/>
                    <a:pt x="1676400" y="904875"/>
                    <a:pt x="1676400" y="904875"/>
                  </a:cubicBezTo>
                  <a:cubicBezTo>
                    <a:pt x="1698625" y="901700"/>
                    <a:pt x="1722559" y="904468"/>
                    <a:pt x="1743075" y="895350"/>
                  </a:cubicBezTo>
                  <a:cubicBezTo>
                    <a:pt x="1753536" y="890701"/>
                    <a:pt x="1754030" y="874870"/>
                    <a:pt x="1762125" y="866775"/>
                  </a:cubicBezTo>
                  <a:cubicBezTo>
                    <a:pt x="1770220" y="858680"/>
                    <a:pt x="1781175" y="854075"/>
                    <a:pt x="1790700" y="847725"/>
                  </a:cubicBezTo>
                  <a:cubicBezTo>
                    <a:pt x="1800225" y="850900"/>
                    <a:pt x="1812175" y="850150"/>
                    <a:pt x="1819275" y="857250"/>
                  </a:cubicBezTo>
                  <a:cubicBezTo>
                    <a:pt x="1823848" y="861823"/>
                    <a:pt x="1838219" y="923572"/>
                    <a:pt x="1838325" y="923925"/>
                  </a:cubicBezTo>
                  <a:cubicBezTo>
                    <a:pt x="1844095" y="943159"/>
                    <a:pt x="1840667" y="969936"/>
                    <a:pt x="1857375" y="981075"/>
                  </a:cubicBezTo>
                  <a:lnTo>
                    <a:pt x="1885950" y="1000125"/>
                  </a:lnTo>
                  <a:lnTo>
                    <a:pt x="1895475" y="1038225"/>
                  </a:lnTo>
                </a:path>
              </a:pathLst>
            </a:cu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2915" fontAlgn="base">
                <a:spcBef>
                  <a:spcPct val="0"/>
                </a:spcBef>
                <a:spcAft>
                  <a:spcPct val="0"/>
                </a:spcAft>
              </a:pPr>
              <a:endParaRPr lang="hu-HU" sz="8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553" name="Szövegdoboz 552"/>
          <p:cNvSpPr txBox="1"/>
          <p:nvPr/>
        </p:nvSpPr>
        <p:spPr>
          <a:xfrm>
            <a:off x="6775451" y="3376613"/>
            <a:ext cx="880359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Hajdú-Bihar</a:t>
            </a:r>
          </a:p>
        </p:txBody>
      </p:sp>
      <p:sp>
        <p:nvSpPr>
          <p:cNvPr id="554" name="Szövegdoboz 553"/>
          <p:cNvSpPr txBox="1"/>
          <p:nvPr/>
        </p:nvSpPr>
        <p:spPr>
          <a:xfrm>
            <a:off x="7315200" y="1897063"/>
            <a:ext cx="1577666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Szabolcs-Szatmár-Bereg</a:t>
            </a:r>
          </a:p>
        </p:txBody>
      </p:sp>
      <p:sp>
        <p:nvSpPr>
          <p:cNvPr id="555" name="Szövegdoboz 554"/>
          <p:cNvSpPr txBox="1"/>
          <p:nvPr/>
        </p:nvSpPr>
        <p:spPr>
          <a:xfrm>
            <a:off x="5877945" y="1620838"/>
            <a:ext cx="1021423" cy="430883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pPr algn="ctr"/>
            <a:r>
              <a:rPr lang="hu-HU" sz="1100" b="1" dirty="0"/>
              <a:t>Borsod-Abaúj-</a:t>
            </a:r>
          </a:p>
          <a:p>
            <a:pPr algn="ctr"/>
            <a:r>
              <a:rPr lang="hu-HU" sz="1100" b="1" dirty="0"/>
              <a:t>Zemplén</a:t>
            </a:r>
          </a:p>
        </p:txBody>
      </p:sp>
      <p:graphicFrame>
        <p:nvGraphicFramePr>
          <p:cNvPr id="589" name="Objektum 588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998984"/>
              </p:ext>
            </p:extLst>
          </p:nvPr>
        </p:nvGraphicFramePr>
        <p:xfrm>
          <a:off x="7696199" y="495300"/>
          <a:ext cx="1381190" cy="15049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" name="Diagram" r:id="rId114" imgW="1381190" imgH="1504980" progId="MSGraph.Chart.8">
                  <p:embed followColorScheme="full"/>
                </p:oleObj>
              </mc:Choice>
              <mc:Fallback>
                <p:oleObj name="Diagram" r:id="rId114" imgW="1381190" imgH="15049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7696199" y="495300"/>
                        <a:ext cx="1381190" cy="15049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1" name="Objektum 620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0080410"/>
              </p:ext>
            </p:extLst>
          </p:nvPr>
        </p:nvGraphicFramePr>
        <p:xfrm>
          <a:off x="6591299" y="2057400"/>
          <a:ext cx="1381190" cy="1485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1" name="Diagram" r:id="rId116" imgW="1381190" imgH="1485810" progId="MSGraph.Chart.8">
                  <p:embed followColorScheme="full"/>
                </p:oleObj>
              </mc:Choice>
              <mc:Fallback>
                <p:oleObj name="Diagram" r:id="rId116" imgW="1381190" imgH="14858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7"/>
                      <a:stretch>
                        <a:fillRect/>
                      </a:stretch>
                    </p:blipFill>
                    <p:spPr>
                      <a:xfrm>
                        <a:off x="6591299" y="2057400"/>
                        <a:ext cx="1381190" cy="14858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5" name="Objektum 58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39526588"/>
              </p:ext>
            </p:extLst>
          </p:nvPr>
        </p:nvGraphicFramePr>
        <p:xfrm>
          <a:off x="5981699" y="304800"/>
          <a:ext cx="1381190" cy="14669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2" name="Diagram" r:id="rId118" imgW="1381190" imgH="1466910" progId="MSGraph.Chart.8">
                  <p:embed followColorScheme="full"/>
                </p:oleObj>
              </mc:Choice>
              <mc:Fallback>
                <p:oleObj name="Diagram" r:id="rId118" imgW="1381190" imgH="14669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9"/>
                      <a:stretch>
                        <a:fillRect/>
                      </a:stretch>
                    </p:blipFill>
                    <p:spPr>
                      <a:xfrm>
                        <a:off x="5981699" y="304800"/>
                        <a:ext cx="1381190" cy="14669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7" name="Objektum 28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391868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3" name="think-cell Slide" r:id="rId120" imgW="270" imgH="270" progId="TCLayout.ActiveDocument.1">
                  <p:embed/>
                </p:oleObj>
              </mc:Choice>
              <mc:Fallback>
                <p:oleObj name="think-cell Slide" r:id="rId1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000" b="1">
              <a:sym typeface="DIN Next W1G Light"/>
            </a:endParaRPr>
          </a:p>
        </p:txBody>
      </p:sp>
      <p:sp>
        <p:nvSpPr>
          <p:cNvPr id="289" name="Cím 1"/>
          <p:cNvSpPr>
            <a:spLocks noGrp="1"/>
          </p:cNvSpPr>
          <p:nvPr>
            <p:ph type="title"/>
          </p:nvPr>
        </p:nvSpPr>
        <p:spPr>
          <a:xfrm>
            <a:off x="178817" y="128245"/>
            <a:ext cx="8641655" cy="738664"/>
          </a:xfr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dirty="0" smtClean="0"/>
              <a:t>A szigorított feltételek és az egyes régiós gazdasági </a:t>
            </a:r>
            <a:br>
              <a:rPr lang="hu-HU" dirty="0" smtClean="0"/>
            </a:br>
            <a:r>
              <a:rPr lang="hu-HU" dirty="0" smtClean="0"/>
              <a:t>fellendülésének hatása jól tükröződik a </a:t>
            </a:r>
            <a:br>
              <a:rPr lang="hu-HU" dirty="0" smtClean="0"/>
            </a:br>
            <a:r>
              <a:rPr lang="hu-HU" dirty="0" smtClean="0"/>
              <a:t>területi megoszláson</a:t>
            </a:r>
            <a:endParaRPr lang="hu-HU" dirty="0"/>
          </a:p>
        </p:txBody>
      </p:sp>
      <p:cxnSp>
        <p:nvCxnSpPr>
          <p:cNvPr id="420" name="Egyenes összekötő 419"/>
          <p:cNvCxnSpPr/>
          <p:nvPr>
            <p:custDataLst>
              <p:tags r:id="rId7"/>
            </p:custDataLst>
          </p:nvPr>
        </p:nvCxnSpPr>
        <p:spPr bwMode="auto">
          <a:xfrm flipV="1">
            <a:off x="3171825" y="1690688"/>
            <a:ext cx="0" cy="7620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1" name="Objektum 420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804722"/>
              </p:ext>
            </p:extLst>
          </p:nvPr>
        </p:nvGraphicFramePr>
        <p:xfrm>
          <a:off x="2438399" y="1562100"/>
          <a:ext cx="1381190" cy="9906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4" name="Diagram" r:id="rId122" imgW="1381190" imgH="990630" progId="MSGraph.Chart.8">
                  <p:embed followColorScheme="full"/>
                </p:oleObj>
              </mc:Choice>
              <mc:Fallback>
                <p:oleObj name="Diagram" r:id="rId122" imgW="1381190" imgH="9906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3"/>
                      <a:stretch>
                        <a:fillRect/>
                      </a:stretch>
                    </p:blipFill>
                    <p:spPr>
                      <a:xfrm>
                        <a:off x="2438399" y="1562100"/>
                        <a:ext cx="1381190" cy="9906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9" name="Szöveg helye 5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 flipV="1">
            <a:off x="2647950" y="18764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EC206D40-9451-41C4-99B8-D068053F1362}" type="datetime'''''''''''3'''''''''''''''''',''''13%'''''''''''''''''''''">
              <a:rPr lang="en-US" sz="1000" b="1">
                <a:solidFill>
                  <a:srgbClr val="4C4C4C"/>
                </a:solidFill>
                <a:sym typeface="+mn-lt"/>
              </a:rPr>
              <a:pPr marL="0" indent="0" algn="ctr">
                <a:buNone/>
              </a:pPr>
              <a:t>3,13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430" name="Szöveg helye 5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 flipV="1">
            <a:off x="2947988" y="199548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  <a:sym typeface="+mn-lt"/>
              </a:rPr>
              <a:t>3,05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51" name="Szövegdoboz 550"/>
          <p:cNvSpPr txBox="1"/>
          <p:nvPr/>
        </p:nvSpPr>
        <p:spPr>
          <a:xfrm>
            <a:off x="6194425" y="4983163"/>
            <a:ext cx="527698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Békés</a:t>
            </a:r>
          </a:p>
        </p:txBody>
      </p:sp>
      <p:sp>
        <p:nvSpPr>
          <p:cNvPr id="552" name="Szövegdoboz 551"/>
          <p:cNvSpPr txBox="1"/>
          <p:nvPr/>
        </p:nvSpPr>
        <p:spPr>
          <a:xfrm>
            <a:off x="5216525" y="5603876"/>
            <a:ext cx="728074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Csongrád</a:t>
            </a:r>
          </a:p>
        </p:txBody>
      </p:sp>
      <p:sp>
        <p:nvSpPr>
          <p:cNvPr id="556" name="Szövegdoboz 555"/>
          <p:cNvSpPr txBox="1"/>
          <p:nvPr/>
        </p:nvSpPr>
        <p:spPr>
          <a:xfrm>
            <a:off x="5203826" y="2392363"/>
            <a:ext cx="538920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Heves</a:t>
            </a:r>
          </a:p>
        </p:txBody>
      </p:sp>
      <p:sp>
        <p:nvSpPr>
          <p:cNvPr id="557" name="Szövegdoboz 556"/>
          <p:cNvSpPr txBox="1"/>
          <p:nvPr/>
        </p:nvSpPr>
        <p:spPr>
          <a:xfrm>
            <a:off x="5337356" y="3629025"/>
            <a:ext cx="936465" cy="400105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pPr algn="ctr"/>
            <a:r>
              <a:rPr lang="hu-HU" sz="1000" b="1" dirty="0" err="1"/>
              <a:t>Jász-Nagykun-</a:t>
            </a:r>
            <a:endParaRPr lang="hu-HU" sz="1000" b="1" dirty="0"/>
          </a:p>
          <a:p>
            <a:pPr algn="ctr"/>
            <a:r>
              <a:rPr lang="hu-HU" sz="1000" b="1" dirty="0"/>
              <a:t>Szolnok</a:t>
            </a:r>
          </a:p>
        </p:txBody>
      </p:sp>
      <p:sp>
        <p:nvSpPr>
          <p:cNvPr id="3" name="Szabadkézi sokszög 2"/>
          <p:cNvSpPr/>
          <p:nvPr/>
        </p:nvSpPr>
        <p:spPr bwMode="auto">
          <a:xfrm>
            <a:off x="3498652" y="1793541"/>
            <a:ext cx="1899482" cy="2198030"/>
          </a:xfrm>
          <a:custGeom>
            <a:avLst/>
            <a:gdLst>
              <a:gd name="connsiteX0" fmla="*/ 266700 w 2701485"/>
              <a:gd name="connsiteY0" fmla="*/ 17127 h 3126087"/>
              <a:gd name="connsiteX1" fmla="*/ 449580 w 2701485"/>
              <a:gd name="connsiteY1" fmla="*/ 9507 h 3126087"/>
              <a:gd name="connsiteX2" fmla="*/ 472440 w 2701485"/>
              <a:gd name="connsiteY2" fmla="*/ 24747 h 3126087"/>
              <a:gd name="connsiteX3" fmla="*/ 487680 w 2701485"/>
              <a:gd name="connsiteY3" fmla="*/ 47607 h 3126087"/>
              <a:gd name="connsiteX4" fmla="*/ 533400 w 2701485"/>
              <a:gd name="connsiteY4" fmla="*/ 78087 h 3126087"/>
              <a:gd name="connsiteX5" fmla="*/ 563880 w 2701485"/>
              <a:gd name="connsiteY5" fmla="*/ 123807 h 3126087"/>
              <a:gd name="connsiteX6" fmla="*/ 579120 w 2701485"/>
              <a:gd name="connsiteY6" fmla="*/ 146667 h 3126087"/>
              <a:gd name="connsiteX7" fmla="*/ 563880 w 2701485"/>
              <a:gd name="connsiteY7" fmla="*/ 169527 h 3126087"/>
              <a:gd name="connsiteX8" fmla="*/ 556260 w 2701485"/>
              <a:gd name="connsiteY8" fmla="*/ 192387 h 3126087"/>
              <a:gd name="connsiteX9" fmla="*/ 510540 w 2701485"/>
              <a:gd name="connsiteY9" fmla="*/ 222867 h 3126087"/>
              <a:gd name="connsiteX10" fmla="*/ 502920 w 2701485"/>
              <a:gd name="connsiteY10" fmla="*/ 245727 h 3126087"/>
              <a:gd name="connsiteX11" fmla="*/ 487680 w 2701485"/>
              <a:gd name="connsiteY11" fmla="*/ 268587 h 3126087"/>
              <a:gd name="connsiteX12" fmla="*/ 480060 w 2701485"/>
              <a:gd name="connsiteY12" fmla="*/ 299067 h 3126087"/>
              <a:gd name="connsiteX13" fmla="*/ 495300 w 2701485"/>
              <a:gd name="connsiteY13" fmla="*/ 344787 h 3126087"/>
              <a:gd name="connsiteX14" fmla="*/ 502920 w 2701485"/>
              <a:gd name="connsiteY14" fmla="*/ 367647 h 3126087"/>
              <a:gd name="connsiteX15" fmla="*/ 525780 w 2701485"/>
              <a:gd name="connsiteY15" fmla="*/ 375267 h 3126087"/>
              <a:gd name="connsiteX16" fmla="*/ 541020 w 2701485"/>
              <a:gd name="connsiteY16" fmla="*/ 398127 h 3126087"/>
              <a:gd name="connsiteX17" fmla="*/ 594360 w 2701485"/>
              <a:gd name="connsiteY17" fmla="*/ 466707 h 3126087"/>
              <a:gd name="connsiteX18" fmla="*/ 662940 w 2701485"/>
              <a:gd name="connsiteY18" fmla="*/ 497187 h 3126087"/>
              <a:gd name="connsiteX19" fmla="*/ 678180 w 2701485"/>
              <a:gd name="connsiteY19" fmla="*/ 520047 h 3126087"/>
              <a:gd name="connsiteX20" fmla="*/ 701040 w 2701485"/>
              <a:gd name="connsiteY20" fmla="*/ 535287 h 3126087"/>
              <a:gd name="connsiteX21" fmla="*/ 731520 w 2701485"/>
              <a:gd name="connsiteY21" fmla="*/ 581007 h 3126087"/>
              <a:gd name="connsiteX22" fmla="*/ 777240 w 2701485"/>
              <a:gd name="connsiteY22" fmla="*/ 596247 h 3126087"/>
              <a:gd name="connsiteX23" fmla="*/ 822960 w 2701485"/>
              <a:gd name="connsiteY23" fmla="*/ 588627 h 3126087"/>
              <a:gd name="connsiteX24" fmla="*/ 845820 w 2701485"/>
              <a:gd name="connsiteY24" fmla="*/ 581007 h 3126087"/>
              <a:gd name="connsiteX25" fmla="*/ 914400 w 2701485"/>
              <a:gd name="connsiteY25" fmla="*/ 588627 h 3126087"/>
              <a:gd name="connsiteX26" fmla="*/ 982980 w 2701485"/>
              <a:gd name="connsiteY26" fmla="*/ 619107 h 3126087"/>
              <a:gd name="connsiteX27" fmla="*/ 1005840 w 2701485"/>
              <a:gd name="connsiteY27" fmla="*/ 626727 h 3126087"/>
              <a:gd name="connsiteX28" fmla="*/ 1028700 w 2701485"/>
              <a:gd name="connsiteY28" fmla="*/ 634347 h 3126087"/>
              <a:gd name="connsiteX29" fmla="*/ 1158240 w 2701485"/>
              <a:gd name="connsiteY29" fmla="*/ 641967 h 3126087"/>
              <a:gd name="connsiteX30" fmla="*/ 1303020 w 2701485"/>
              <a:gd name="connsiteY30" fmla="*/ 649587 h 3126087"/>
              <a:gd name="connsiteX31" fmla="*/ 1371600 w 2701485"/>
              <a:gd name="connsiteY31" fmla="*/ 672447 h 3126087"/>
              <a:gd name="connsiteX32" fmla="*/ 1394460 w 2701485"/>
              <a:gd name="connsiteY32" fmla="*/ 680067 h 3126087"/>
              <a:gd name="connsiteX33" fmla="*/ 1409700 w 2701485"/>
              <a:gd name="connsiteY33" fmla="*/ 710547 h 3126087"/>
              <a:gd name="connsiteX34" fmla="*/ 1394460 w 2701485"/>
              <a:gd name="connsiteY34" fmla="*/ 733407 h 3126087"/>
              <a:gd name="connsiteX35" fmla="*/ 1386840 w 2701485"/>
              <a:gd name="connsiteY35" fmla="*/ 756267 h 3126087"/>
              <a:gd name="connsiteX36" fmla="*/ 1394460 w 2701485"/>
              <a:gd name="connsiteY36" fmla="*/ 779127 h 3126087"/>
              <a:gd name="connsiteX37" fmla="*/ 1417320 w 2701485"/>
              <a:gd name="connsiteY37" fmla="*/ 794367 h 3126087"/>
              <a:gd name="connsiteX38" fmla="*/ 1432560 w 2701485"/>
              <a:gd name="connsiteY38" fmla="*/ 840087 h 3126087"/>
              <a:gd name="connsiteX39" fmla="*/ 1409700 w 2701485"/>
              <a:gd name="connsiteY39" fmla="*/ 862947 h 3126087"/>
              <a:gd name="connsiteX40" fmla="*/ 1409700 w 2701485"/>
              <a:gd name="connsiteY40" fmla="*/ 923907 h 3126087"/>
              <a:gd name="connsiteX41" fmla="*/ 1455420 w 2701485"/>
              <a:gd name="connsiteY41" fmla="*/ 954387 h 3126087"/>
              <a:gd name="connsiteX42" fmla="*/ 1478280 w 2701485"/>
              <a:gd name="connsiteY42" fmla="*/ 969627 h 3126087"/>
              <a:gd name="connsiteX43" fmla="*/ 1508760 w 2701485"/>
              <a:gd name="connsiteY43" fmla="*/ 1007727 h 3126087"/>
              <a:gd name="connsiteX44" fmla="*/ 1524000 w 2701485"/>
              <a:gd name="connsiteY44" fmla="*/ 984867 h 3126087"/>
              <a:gd name="connsiteX45" fmla="*/ 1516380 w 2701485"/>
              <a:gd name="connsiteY45" fmla="*/ 962007 h 3126087"/>
              <a:gd name="connsiteX46" fmla="*/ 1539240 w 2701485"/>
              <a:gd name="connsiteY46" fmla="*/ 946767 h 3126087"/>
              <a:gd name="connsiteX47" fmla="*/ 1584960 w 2701485"/>
              <a:gd name="connsiteY47" fmla="*/ 923907 h 3126087"/>
              <a:gd name="connsiteX48" fmla="*/ 1592580 w 2701485"/>
              <a:gd name="connsiteY48" fmla="*/ 901047 h 3126087"/>
              <a:gd name="connsiteX49" fmla="*/ 1638300 w 2701485"/>
              <a:gd name="connsiteY49" fmla="*/ 885807 h 3126087"/>
              <a:gd name="connsiteX50" fmla="*/ 1684020 w 2701485"/>
              <a:gd name="connsiteY50" fmla="*/ 901047 h 3126087"/>
              <a:gd name="connsiteX51" fmla="*/ 1722120 w 2701485"/>
              <a:gd name="connsiteY51" fmla="*/ 931527 h 3126087"/>
              <a:gd name="connsiteX52" fmla="*/ 1722120 w 2701485"/>
              <a:gd name="connsiteY52" fmla="*/ 1091547 h 3126087"/>
              <a:gd name="connsiteX53" fmla="*/ 1737360 w 2701485"/>
              <a:gd name="connsiteY53" fmla="*/ 1114407 h 3126087"/>
              <a:gd name="connsiteX54" fmla="*/ 1760220 w 2701485"/>
              <a:gd name="connsiteY54" fmla="*/ 1129647 h 3126087"/>
              <a:gd name="connsiteX55" fmla="*/ 1775460 w 2701485"/>
              <a:gd name="connsiteY55" fmla="*/ 1152507 h 3126087"/>
              <a:gd name="connsiteX56" fmla="*/ 1798320 w 2701485"/>
              <a:gd name="connsiteY56" fmla="*/ 1167747 h 3126087"/>
              <a:gd name="connsiteX57" fmla="*/ 1821180 w 2701485"/>
              <a:gd name="connsiteY57" fmla="*/ 1236327 h 3126087"/>
              <a:gd name="connsiteX58" fmla="*/ 1828800 w 2701485"/>
              <a:gd name="connsiteY58" fmla="*/ 1259187 h 3126087"/>
              <a:gd name="connsiteX59" fmla="*/ 1851660 w 2701485"/>
              <a:gd name="connsiteY59" fmla="*/ 1274427 h 3126087"/>
              <a:gd name="connsiteX60" fmla="*/ 1836420 w 2701485"/>
              <a:gd name="connsiteY60" fmla="*/ 1320147 h 3126087"/>
              <a:gd name="connsiteX61" fmla="*/ 1828800 w 2701485"/>
              <a:gd name="connsiteY61" fmla="*/ 1343007 h 3126087"/>
              <a:gd name="connsiteX62" fmla="*/ 1836420 w 2701485"/>
              <a:gd name="connsiteY62" fmla="*/ 1434447 h 3126087"/>
              <a:gd name="connsiteX63" fmla="*/ 1874520 w 2701485"/>
              <a:gd name="connsiteY63" fmla="*/ 1472547 h 3126087"/>
              <a:gd name="connsiteX64" fmla="*/ 1897380 w 2701485"/>
              <a:gd name="connsiteY64" fmla="*/ 1480167 h 3126087"/>
              <a:gd name="connsiteX65" fmla="*/ 1943100 w 2701485"/>
              <a:gd name="connsiteY65" fmla="*/ 1503027 h 3126087"/>
              <a:gd name="connsiteX66" fmla="*/ 1996440 w 2701485"/>
              <a:gd name="connsiteY66" fmla="*/ 1495407 h 3126087"/>
              <a:gd name="connsiteX67" fmla="*/ 2019300 w 2701485"/>
              <a:gd name="connsiteY67" fmla="*/ 1487787 h 3126087"/>
              <a:gd name="connsiteX68" fmla="*/ 2042160 w 2701485"/>
              <a:gd name="connsiteY68" fmla="*/ 1495407 h 3126087"/>
              <a:gd name="connsiteX69" fmla="*/ 2011680 w 2701485"/>
              <a:gd name="connsiteY69" fmla="*/ 1525887 h 3126087"/>
              <a:gd name="connsiteX70" fmla="*/ 1996440 w 2701485"/>
              <a:gd name="connsiteY70" fmla="*/ 1548747 h 3126087"/>
              <a:gd name="connsiteX71" fmla="*/ 2026920 w 2701485"/>
              <a:gd name="connsiteY71" fmla="*/ 1594467 h 3126087"/>
              <a:gd name="connsiteX72" fmla="*/ 2042160 w 2701485"/>
              <a:gd name="connsiteY72" fmla="*/ 1617327 h 3126087"/>
              <a:gd name="connsiteX73" fmla="*/ 2065020 w 2701485"/>
              <a:gd name="connsiteY73" fmla="*/ 1624947 h 3126087"/>
              <a:gd name="connsiteX74" fmla="*/ 2095500 w 2701485"/>
              <a:gd name="connsiteY74" fmla="*/ 1670667 h 3126087"/>
              <a:gd name="connsiteX75" fmla="*/ 2110740 w 2701485"/>
              <a:gd name="connsiteY75" fmla="*/ 1693527 h 3126087"/>
              <a:gd name="connsiteX76" fmla="*/ 2156460 w 2701485"/>
              <a:gd name="connsiteY76" fmla="*/ 1739247 h 3126087"/>
              <a:gd name="connsiteX77" fmla="*/ 2171700 w 2701485"/>
              <a:gd name="connsiteY77" fmla="*/ 1762107 h 3126087"/>
              <a:gd name="connsiteX78" fmla="*/ 2217420 w 2701485"/>
              <a:gd name="connsiteY78" fmla="*/ 1792587 h 3126087"/>
              <a:gd name="connsiteX79" fmla="*/ 2232660 w 2701485"/>
              <a:gd name="connsiteY79" fmla="*/ 1815447 h 3126087"/>
              <a:gd name="connsiteX80" fmla="*/ 2240280 w 2701485"/>
              <a:gd name="connsiteY80" fmla="*/ 1845927 h 3126087"/>
              <a:gd name="connsiteX81" fmla="*/ 2263140 w 2701485"/>
              <a:gd name="connsiteY81" fmla="*/ 1861167 h 3126087"/>
              <a:gd name="connsiteX82" fmla="*/ 2339340 w 2701485"/>
              <a:gd name="connsiteY82" fmla="*/ 1891647 h 3126087"/>
              <a:gd name="connsiteX83" fmla="*/ 2362200 w 2701485"/>
              <a:gd name="connsiteY83" fmla="*/ 1899267 h 3126087"/>
              <a:gd name="connsiteX84" fmla="*/ 2407920 w 2701485"/>
              <a:gd name="connsiteY84" fmla="*/ 1929747 h 3126087"/>
              <a:gd name="connsiteX85" fmla="*/ 2423160 w 2701485"/>
              <a:gd name="connsiteY85" fmla="*/ 1952607 h 3126087"/>
              <a:gd name="connsiteX86" fmla="*/ 2446020 w 2701485"/>
              <a:gd name="connsiteY86" fmla="*/ 1967847 h 3126087"/>
              <a:gd name="connsiteX87" fmla="*/ 2468880 w 2701485"/>
              <a:gd name="connsiteY87" fmla="*/ 2036427 h 3126087"/>
              <a:gd name="connsiteX88" fmla="*/ 2476500 w 2701485"/>
              <a:gd name="connsiteY88" fmla="*/ 2059287 h 3126087"/>
              <a:gd name="connsiteX89" fmla="*/ 2499360 w 2701485"/>
              <a:gd name="connsiteY89" fmla="*/ 2105007 h 3126087"/>
              <a:gd name="connsiteX90" fmla="*/ 2491740 w 2701485"/>
              <a:gd name="connsiteY90" fmla="*/ 2181207 h 3126087"/>
              <a:gd name="connsiteX91" fmla="*/ 2484120 w 2701485"/>
              <a:gd name="connsiteY91" fmla="*/ 2249787 h 3126087"/>
              <a:gd name="connsiteX92" fmla="*/ 2506980 w 2701485"/>
              <a:gd name="connsiteY92" fmla="*/ 2257407 h 3126087"/>
              <a:gd name="connsiteX93" fmla="*/ 2529840 w 2701485"/>
              <a:gd name="connsiteY93" fmla="*/ 2272647 h 3126087"/>
              <a:gd name="connsiteX94" fmla="*/ 2575560 w 2701485"/>
              <a:gd name="connsiteY94" fmla="*/ 2287887 h 3126087"/>
              <a:gd name="connsiteX95" fmla="*/ 2628900 w 2701485"/>
              <a:gd name="connsiteY95" fmla="*/ 2348847 h 3126087"/>
              <a:gd name="connsiteX96" fmla="*/ 2628900 w 2701485"/>
              <a:gd name="connsiteY96" fmla="*/ 2508867 h 3126087"/>
              <a:gd name="connsiteX97" fmla="*/ 2606040 w 2701485"/>
              <a:gd name="connsiteY97" fmla="*/ 2524107 h 3126087"/>
              <a:gd name="connsiteX98" fmla="*/ 2583180 w 2701485"/>
              <a:gd name="connsiteY98" fmla="*/ 2592687 h 3126087"/>
              <a:gd name="connsiteX99" fmla="*/ 2575560 w 2701485"/>
              <a:gd name="connsiteY99" fmla="*/ 2615547 h 3126087"/>
              <a:gd name="connsiteX100" fmla="*/ 2583180 w 2701485"/>
              <a:gd name="connsiteY100" fmla="*/ 2676507 h 3126087"/>
              <a:gd name="connsiteX101" fmla="*/ 2621280 w 2701485"/>
              <a:gd name="connsiteY101" fmla="*/ 2722227 h 3126087"/>
              <a:gd name="connsiteX102" fmla="*/ 2636520 w 2701485"/>
              <a:gd name="connsiteY102" fmla="*/ 2798427 h 3126087"/>
              <a:gd name="connsiteX103" fmla="*/ 2644140 w 2701485"/>
              <a:gd name="connsiteY103" fmla="*/ 2821287 h 3126087"/>
              <a:gd name="connsiteX104" fmla="*/ 2667000 w 2701485"/>
              <a:gd name="connsiteY104" fmla="*/ 2836527 h 3126087"/>
              <a:gd name="connsiteX105" fmla="*/ 2689860 w 2701485"/>
              <a:gd name="connsiteY105" fmla="*/ 2935587 h 3126087"/>
              <a:gd name="connsiteX106" fmla="*/ 2659380 w 2701485"/>
              <a:gd name="connsiteY106" fmla="*/ 2943207 h 3126087"/>
              <a:gd name="connsiteX107" fmla="*/ 2575560 w 2701485"/>
              <a:gd name="connsiteY107" fmla="*/ 2950827 h 3126087"/>
              <a:gd name="connsiteX108" fmla="*/ 2529840 w 2701485"/>
              <a:gd name="connsiteY108" fmla="*/ 2966067 h 3126087"/>
              <a:gd name="connsiteX109" fmla="*/ 2468880 w 2701485"/>
              <a:gd name="connsiteY109" fmla="*/ 2981307 h 3126087"/>
              <a:gd name="connsiteX110" fmla="*/ 2446020 w 2701485"/>
              <a:gd name="connsiteY110" fmla="*/ 3004167 h 3126087"/>
              <a:gd name="connsiteX111" fmla="*/ 2430780 w 2701485"/>
              <a:gd name="connsiteY111" fmla="*/ 3057507 h 3126087"/>
              <a:gd name="connsiteX112" fmla="*/ 2407920 w 2701485"/>
              <a:gd name="connsiteY112" fmla="*/ 3065127 h 3126087"/>
              <a:gd name="connsiteX113" fmla="*/ 2369820 w 2701485"/>
              <a:gd name="connsiteY113" fmla="*/ 3072747 h 3126087"/>
              <a:gd name="connsiteX114" fmla="*/ 2324100 w 2701485"/>
              <a:gd name="connsiteY114" fmla="*/ 3042267 h 3126087"/>
              <a:gd name="connsiteX115" fmla="*/ 2278380 w 2701485"/>
              <a:gd name="connsiteY115" fmla="*/ 3011787 h 3126087"/>
              <a:gd name="connsiteX116" fmla="*/ 2225040 w 2701485"/>
              <a:gd name="connsiteY116" fmla="*/ 3019407 h 3126087"/>
              <a:gd name="connsiteX117" fmla="*/ 2179320 w 2701485"/>
              <a:gd name="connsiteY117" fmla="*/ 3110847 h 3126087"/>
              <a:gd name="connsiteX118" fmla="*/ 2133600 w 2701485"/>
              <a:gd name="connsiteY118" fmla="*/ 3126087 h 3126087"/>
              <a:gd name="connsiteX119" fmla="*/ 2049780 w 2701485"/>
              <a:gd name="connsiteY119" fmla="*/ 3110847 h 3126087"/>
              <a:gd name="connsiteX120" fmla="*/ 2026920 w 2701485"/>
              <a:gd name="connsiteY120" fmla="*/ 3103227 h 3126087"/>
              <a:gd name="connsiteX121" fmla="*/ 2004060 w 2701485"/>
              <a:gd name="connsiteY121" fmla="*/ 3087987 h 3126087"/>
              <a:gd name="connsiteX122" fmla="*/ 1965960 w 2701485"/>
              <a:gd name="connsiteY122" fmla="*/ 3042267 h 3126087"/>
              <a:gd name="connsiteX123" fmla="*/ 1943100 w 2701485"/>
              <a:gd name="connsiteY123" fmla="*/ 3034647 h 3126087"/>
              <a:gd name="connsiteX124" fmla="*/ 1935480 w 2701485"/>
              <a:gd name="connsiteY124" fmla="*/ 3004167 h 3126087"/>
              <a:gd name="connsiteX125" fmla="*/ 1912620 w 2701485"/>
              <a:gd name="connsiteY125" fmla="*/ 2996547 h 3126087"/>
              <a:gd name="connsiteX126" fmla="*/ 1882140 w 2701485"/>
              <a:gd name="connsiteY126" fmla="*/ 2973687 h 3126087"/>
              <a:gd name="connsiteX127" fmla="*/ 1851660 w 2701485"/>
              <a:gd name="connsiteY127" fmla="*/ 2927967 h 3126087"/>
              <a:gd name="connsiteX128" fmla="*/ 1828800 w 2701485"/>
              <a:gd name="connsiteY128" fmla="*/ 2912727 h 3126087"/>
              <a:gd name="connsiteX129" fmla="*/ 1805940 w 2701485"/>
              <a:gd name="connsiteY129" fmla="*/ 2889867 h 3126087"/>
              <a:gd name="connsiteX130" fmla="*/ 1775460 w 2701485"/>
              <a:gd name="connsiteY130" fmla="*/ 2844147 h 3126087"/>
              <a:gd name="connsiteX131" fmla="*/ 1767840 w 2701485"/>
              <a:gd name="connsiteY131" fmla="*/ 2813667 h 3126087"/>
              <a:gd name="connsiteX132" fmla="*/ 1752600 w 2701485"/>
              <a:gd name="connsiteY132" fmla="*/ 2767947 h 3126087"/>
              <a:gd name="connsiteX133" fmla="*/ 1744980 w 2701485"/>
              <a:gd name="connsiteY133" fmla="*/ 2729847 h 3126087"/>
              <a:gd name="connsiteX134" fmla="*/ 1729740 w 2701485"/>
              <a:gd name="connsiteY134" fmla="*/ 2684127 h 3126087"/>
              <a:gd name="connsiteX135" fmla="*/ 1676400 w 2701485"/>
              <a:gd name="connsiteY135" fmla="*/ 2661267 h 3126087"/>
              <a:gd name="connsiteX136" fmla="*/ 1638300 w 2701485"/>
              <a:gd name="connsiteY136" fmla="*/ 2668887 h 3126087"/>
              <a:gd name="connsiteX137" fmla="*/ 1615440 w 2701485"/>
              <a:gd name="connsiteY137" fmla="*/ 2676507 h 3126087"/>
              <a:gd name="connsiteX138" fmla="*/ 1531620 w 2701485"/>
              <a:gd name="connsiteY138" fmla="*/ 2684127 h 3126087"/>
              <a:gd name="connsiteX139" fmla="*/ 1539240 w 2701485"/>
              <a:gd name="connsiteY139" fmla="*/ 2706987 h 3126087"/>
              <a:gd name="connsiteX140" fmla="*/ 1516380 w 2701485"/>
              <a:gd name="connsiteY140" fmla="*/ 2752707 h 3126087"/>
              <a:gd name="connsiteX141" fmla="*/ 1470660 w 2701485"/>
              <a:gd name="connsiteY141" fmla="*/ 2767947 h 3126087"/>
              <a:gd name="connsiteX142" fmla="*/ 1356360 w 2701485"/>
              <a:gd name="connsiteY142" fmla="*/ 2798427 h 3126087"/>
              <a:gd name="connsiteX143" fmla="*/ 1341120 w 2701485"/>
              <a:gd name="connsiteY143" fmla="*/ 2821287 h 3126087"/>
              <a:gd name="connsiteX144" fmla="*/ 1295400 w 2701485"/>
              <a:gd name="connsiteY144" fmla="*/ 2828907 h 3126087"/>
              <a:gd name="connsiteX145" fmla="*/ 1272540 w 2701485"/>
              <a:gd name="connsiteY145" fmla="*/ 2836527 h 3126087"/>
              <a:gd name="connsiteX146" fmla="*/ 1242060 w 2701485"/>
              <a:gd name="connsiteY146" fmla="*/ 2867007 h 3126087"/>
              <a:gd name="connsiteX147" fmla="*/ 1196340 w 2701485"/>
              <a:gd name="connsiteY147" fmla="*/ 2897487 h 3126087"/>
              <a:gd name="connsiteX148" fmla="*/ 1158240 w 2701485"/>
              <a:gd name="connsiteY148" fmla="*/ 2889867 h 3126087"/>
              <a:gd name="connsiteX149" fmla="*/ 1165860 w 2701485"/>
              <a:gd name="connsiteY149" fmla="*/ 2867007 h 3126087"/>
              <a:gd name="connsiteX150" fmla="*/ 1181100 w 2701485"/>
              <a:gd name="connsiteY150" fmla="*/ 2806047 h 3126087"/>
              <a:gd name="connsiteX151" fmla="*/ 1203960 w 2701485"/>
              <a:gd name="connsiteY151" fmla="*/ 2790807 h 3126087"/>
              <a:gd name="connsiteX152" fmla="*/ 1219200 w 2701485"/>
              <a:gd name="connsiteY152" fmla="*/ 2767947 h 3126087"/>
              <a:gd name="connsiteX153" fmla="*/ 1226820 w 2701485"/>
              <a:gd name="connsiteY153" fmla="*/ 2745087 h 3126087"/>
              <a:gd name="connsiteX154" fmla="*/ 1196340 w 2701485"/>
              <a:gd name="connsiteY154" fmla="*/ 2661267 h 3126087"/>
              <a:gd name="connsiteX155" fmla="*/ 1165860 w 2701485"/>
              <a:gd name="connsiteY155" fmla="*/ 2653647 h 3126087"/>
              <a:gd name="connsiteX156" fmla="*/ 1143000 w 2701485"/>
              <a:gd name="connsiteY156" fmla="*/ 2638407 h 3126087"/>
              <a:gd name="connsiteX157" fmla="*/ 1066800 w 2701485"/>
              <a:gd name="connsiteY157" fmla="*/ 2623167 h 3126087"/>
              <a:gd name="connsiteX158" fmla="*/ 1005840 w 2701485"/>
              <a:gd name="connsiteY158" fmla="*/ 2630787 h 3126087"/>
              <a:gd name="connsiteX159" fmla="*/ 990600 w 2701485"/>
              <a:gd name="connsiteY159" fmla="*/ 2676507 h 3126087"/>
              <a:gd name="connsiteX160" fmla="*/ 982980 w 2701485"/>
              <a:gd name="connsiteY160" fmla="*/ 2699367 h 3126087"/>
              <a:gd name="connsiteX161" fmla="*/ 891540 w 2701485"/>
              <a:gd name="connsiteY161" fmla="*/ 2706987 h 3126087"/>
              <a:gd name="connsiteX162" fmla="*/ 815340 w 2701485"/>
              <a:gd name="connsiteY162" fmla="*/ 2752707 h 3126087"/>
              <a:gd name="connsiteX163" fmla="*/ 762000 w 2701485"/>
              <a:gd name="connsiteY163" fmla="*/ 2775567 h 3126087"/>
              <a:gd name="connsiteX164" fmla="*/ 739140 w 2701485"/>
              <a:gd name="connsiteY164" fmla="*/ 2798427 h 3126087"/>
              <a:gd name="connsiteX165" fmla="*/ 716280 w 2701485"/>
              <a:gd name="connsiteY165" fmla="*/ 2813667 h 3126087"/>
              <a:gd name="connsiteX166" fmla="*/ 701040 w 2701485"/>
              <a:gd name="connsiteY166" fmla="*/ 2836527 h 3126087"/>
              <a:gd name="connsiteX167" fmla="*/ 624840 w 2701485"/>
              <a:gd name="connsiteY167" fmla="*/ 2836527 h 3126087"/>
              <a:gd name="connsiteX168" fmla="*/ 601980 w 2701485"/>
              <a:gd name="connsiteY168" fmla="*/ 2813667 h 3126087"/>
              <a:gd name="connsiteX169" fmla="*/ 434340 w 2701485"/>
              <a:gd name="connsiteY169" fmla="*/ 2790807 h 3126087"/>
              <a:gd name="connsiteX170" fmla="*/ 396240 w 2701485"/>
              <a:gd name="connsiteY170" fmla="*/ 2737467 h 3126087"/>
              <a:gd name="connsiteX171" fmla="*/ 388620 w 2701485"/>
              <a:gd name="connsiteY171" fmla="*/ 2706987 h 3126087"/>
              <a:gd name="connsiteX172" fmla="*/ 373380 w 2701485"/>
              <a:gd name="connsiteY172" fmla="*/ 2661267 h 3126087"/>
              <a:gd name="connsiteX173" fmla="*/ 381000 w 2701485"/>
              <a:gd name="connsiteY173" fmla="*/ 2638407 h 3126087"/>
              <a:gd name="connsiteX174" fmla="*/ 373380 w 2701485"/>
              <a:gd name="connsiteY174" fmla="*/ 2615547 h 3126087"/>
              <a:gd name="connsiteX175" fmla="*/ 365760 w 2701485"/>
              <a:gd name="connsiteY175" fmla="*/ 2577447 h 3126087"/>
              <a:gd name="connsiteX176" fmla="*/ 350520 w 2701485"/>
              <a:gd name="connsiteY176" fmla="*/ 2531727 h 3126087"/>
              <a:gd name="connsiteX177" fmla="*/ 358140 w 2701485"/>
              <a:gd name="connsiteY177" fmla="*/ 2417427 h 3126087"/>
              <a:gd name="connsiteX178" fmla="*/ 381000 w 2701485"/>
              <a:gd name="connsiteY178" fmla="*/ 2409807 h 3126087"/>
              <a:gd name="connsiteX179" fmla="*/ 396240 w 2701485"/>
              <a:gd name="connsiteY179" fmla="*/ 2364087 h 3126087"/>
              <a:gd name="connsiteX180" fmla="*/ 403860 w 2701485"/>
              <a:gd name="connsiteY180" fmla="*/ 2272647 h 3126087"/>
              <a:gd name="connsiteX181" fmla="*/ 411480 w 2701485"/>
              <a:gd name="connsiteY181" fmla="*/ 2249787 h 3126087"/>
              <a:gd name="connsiteX182" fmla="*/ 403860 w 2701485"/>
              <a:gd name="connsiteY182" fmla="*/ 2204067 h 3126087"/>
              <a:gd name="connsiteX183" fmla="*/ 358140 w 2701485"/>
              <a:gd name="connsiteY183" fmla="*/ 2188827 h 3126087"/>
              <a:gd name="connsiteX184" fmla="*/ 335280 w 2701485"/>
              <a:gd name="connsiteY184" fmla="*/ 2120247 h 3126087"/>
              <a:gd name="connsiteX185" fmla="*/ 327660 w 2701485"/>
              <a:gd name="connsiteY185" fmla="*/ 2097387 h 3126087"/>
              <a:gd name="connsiteX186" fmla="*/ 304800 w 2701485"/>
              <a:gd name="connsiteY186" fmla="*/ 2089767 h 3126087"/>
              <a:gd name="connsiteX187" fmla="*/ 259080 w 2701485"/>
              <a:gd name="connsiteY187" fmla="*/ 1998327 h 3126087"/>
              <a:gd name="connsiteX188" fmla="*/ 236220 w 2701485"/>
              <a:gd name="connsiteY188" fmla="*/ 1983087 h 3126087"/>
              <a:gd name="connsiteX189" fmla="*/ 182880 w 2701485"/>
              <a:gd name="connsiteY189" fmla="*/ 1929747 h 3126087"/>
              <a:gd name="connsiteX190" fmla="*/ 175260 w 2701485"/>
              <a:gd name="connsiteY190" fmla="*/ 1906887 h 3126087"/>
              <a:gd name="connsiteX191" fmla="*/ 144780 w 2701485"/>
              <a:gd name="connsiteY191" fmla="*/ 1861167 h 3126087"/>
              <a:gd name="connsiteX192" fmla="*/ 137160 w 2701485"/>
              <a:gd name="connsiteY192" fmla="*/ 1838307 h 3126087"/>
              <a:gd name="connsiteX193" fmla="*/ 160020 w 2701485"/>
              <a:gd name="connsiteY193" fmla="*/ 1792587 h 3126087"/>
              <a:gd name="connsiteX194" fmla="*/ 167640 w 2701485"/>
              <a:gd name="connsiteY194" fmla="*/ 1769727 h 3126087"/>
              <a:gd name="connsiteX195" fmla="*/ 160020 w 2701485"/>
              <a:gd name="connsiteY195" fmla="*/ 1670667 h 3126087"/>
              <a:gd name="connsiteX196" fmla="*/ 152400 w 2701485"/>
              <a:gd name="connsiteY196" fmla="*/ 1647807 h 3126087"/>
              <a:gd name="connsiteX197" fmla="*/ 129540 w 2701485"/>
              <a:gd name="connsiteY197" fmla="*/ 1632567 h 3126087"/>
              <a:gd name="connsiteX198" fmla="*/ 121920 w 2701485"/>
              <a:gd name="connsiteY198" fmla="*/ 1609707 h 3126087"/>
              <a:gd name="connsiteX199" fmla="*/ 76200 w 2701485"/>
              <a:gd name="connsiteY199" fmla="*/ 1594467 h 3126087"/>
              <a:gd name="connsiteX200" fmla="*/ 53340 w 2701485"/>
              <a:gd name="connsiteY200" fmla="*/ 1548747 h 3126087"/>
              <a:gd name="connsiteX201" fmla="*/ 38100 w 2701485"/>
              <a:gd name="connsiteY201" fmla="*/ 1525887 h 3126087"/>
              <a:gd name="connsiteX202" fmla="*/ 22860 w 2701485"/>
              <a:gd name="connsiteY202" fmla="*/ 1480167 h 3126087"/>
              <a:gd name="connsiteX203" fmla="*/ 7620 w 2701485"/>
              <a:gd name="connsiteY203" fmla="*/ 1434447 h 3126087"/>
              <a:gd name="connsiteX204" fmla="*/ 0 w 2701485"/>
              <a:gd name="connsiteY204" fmla="*/ 1411587 h 3126087"/>
              <a:gd name="connsiteX205" fmla="*/ 22860 w 2701485"/>
              <a:gd name="connsiteY205" fmla="*/ 1312527 h 3126087"/>
              <a:gd name="connsiteX206" fmla="*/ 45720 w 2701485"/>
              <a:gd name="connsiteY206" fmla="*/ 1297287 h 3126087"/>
              <a:gd name="connsiteX207" fmla="*/ 53340 w 2701485"/>
              <a:gd name="connsiteY207" fmla="*/ 1251567 h 3126087"/>
              <a:gd name="connsiteX208" fmla="*/ 60960 w 2701485"/>
              <a:gd name="connsiteY208" fmla="*/ 1213467 h 3126087"/>
              <a:gd name="connsiteX209" fmla="*/ 106680 w 2701485"/>
              <a:gd name="connsiteY209" fmla="*/ 1198227 h 3126087"/>
              <a:gd name="connsiteX210" fmla="*/ 129540 w 2701485"/>
              <a:gd name="connsiteY210" fmla="*/ 1182987 h 3126087"/>
              <a:gd name="connsiteX211" fmla="*/ 144780 w 2701485"/>
              <a:gd name="connsiteY211" fmla="*/ 1137267 h 3126087"/>
              <a:gd name="connsiteX212" fmla="*/ 175260 w 2701485"/>
              <a:gd name="connsiteY212" fmla="*/ 1099167 h 3126087"/>
              <a:gd name="connsiteX213" fmla="*/ 198120 w 2701485"/>
              <a:gd name="connsiteY213" fmla="*/ 1091547 h 3126087"/>
              <a:gd name="connsiteX214" fmla="*/ 312420 w 2701485"/>
              <a:gd name="connsiteY214" fmla="*/ 1083927 h 3126087"/>
              <a:gd name="connsiteX215" fmla="*/ 297180 w 2701485"/>
              <a:gd name="connsiteY215" fmla="*/ 992487 h 3126087"/>
              <a:gd name="connsiteX216" fmla="*/ 304800 w 2701485"/>
              <a:gd name="connsiteY216" fmla="*/ 969627 h 3126087"/>
              <a:gd name="connsiteX217" fmla="*/ 327660 w 2701485"/>
              <a:gd name="connsiteY217" fmla="*/ 954387 h 3126087"/>
              <a:gd name="connsiteX218" fmla="*/ 373380 w 2701485"/>
              <a:gd name="connsiteY218" fmla="*/ 939147 h 3126087"/>
              <a:gd name="connsiteX219" fmla="*/ 426720 w 2701485"/>
              <a:gd name="connsiteY219" fmla="*/ 946767 h 3126087"/>
              <a:gd name="connsiteX220" fmla="*/ 449580 w 2701485"/>
              <a:gd name="connsiteY220" fmla="*/ 939147 h 3126087"/>
              <a:gd name="connsiteX221" fmla="*/ 434340 w 2701485"/>
              <a:gd name="connsiteY221" fmla="*/ 893427 h 3126087"/>
              <a:gd name="connsiteX222" fmla="*/ 411480 w 2701485"/>
              <a:gd name="connsiteY222" fmla="*/ 771507 h 3126087"/>
              <a:gd name="connsiteX223" fmla="*/ 403860 w 2701485"/>
              <a:gd name="connsiteY223" fmla="*/ 748647 h 3126087"/>
              <a:gd name="connsiteX224" fmla="*/ 381000 w 2701485"/>
              <a:gd name="connsiteY224" fmla="*/ 733407 h 3126087"/>
              <a:gd name="connsiteX225" fmla="*/ 358140 w 2701485"/>
              <a:gd name="connsiteY225" fmla="*/ 687687 h 3126087"/>
              <a:gd name="connsiteX226" fmla="*/ 320040 w 2701485"/>
              <a:gd name="connsiteY226" fmla="*/ 680067 h 3126087"/>
              <a:gd name="connsiteX227" fmla="*/ 297180 w 2701485"/>
              <a:gd name="connsiteY227" fmla="*/ 672447 h 3126087"/>
              <a:gd name="connsiteX228" fmla="*/ 289560 w 2701485"/>
              <a:gd name="connsiteY228" fmla="*/ 649587 h 3126087"/>
              <a:gd name="connsiteX229" fmla="*/ 266700 w 2701485"/>
              <a:gd name="connsiteY229" fmla="*/ 641967 h 3126087"/>
              <a:gd name="connsiteX230" fmla="*/ 251460 w 2701485"/>
              <a:gd name="connsiteY230" fmla="*/ 596247 h 3126087"/>
              <a:gd name="connsiteX231" fmla="*/ 243840 w 2701485"/>
              <a:gd name="connsiteY231" fmla="*/ 573387 h 3126087"/>
              <a:gd name="connsiteX232" fmla="*/ 220980 w 2701485"/>
              <a:gd name="connsiteY232" fmla="*/ 558147 h 3126087"/>
              <a:gd name="connsiteX233" fmla="*/ 198120 w 2701485"/>
              <a:gd name="connsiteY233" fmla="*/ 550527 h 3126087"/>
              <a:gd name="connsiteX234" fmla="*/ 152400 w 2701485"/>
              <a:gd name="connsiteY234" fmla="*/ 512427 h 3126087"/>
              <a:gd name="connsiteX235" fmla="*/ 121920 w 2701485"/>
              <a:gd name="connsiteY235" fmla="*/ 504807 h 3126087"/>
              <a:gd name="connsiteX236" fmla="*/ 137160 w 2701485"/>
              <a:gd name="connsiteY236" fmla="*/ 420987 h 3126087"/>
              <a:gd name="connsiteX237" fmla="*/ 144780 w 2701485"/>
              <a:gd name="connsiteY237" fmla="*/ 398127 h 3126087"/>
              <a:gd name="connsiteX238" fmla="*/ 160020 w 2701485"/>
              <a:gd name="connsiteY238" fmla="*/ 321927 h 3126087"/>
              <a:gd name="connsiteX239" fmla="*/ 137160 w 2701485"/>
              <a:gd name="connsiteY239" fmla="*/ 253347 h 3126087"/>
              <a:gd name="connsiteX240" fmla="*/ 121920 w 2701485"/>
              <a:gd name="connsiteY240" fmla="*/ 207627 h 3126087"/>
              <a:gd name="connsiteX241" fmla="*/ 129540 w 2701485"/>
              <a:gd name="connsiteY241" fmla="*/ 184767 h 3126087"/>
              <a:gd name="connsiteX242" fmla="*/ 228600 w 2701485"/>
              <a:gd name="connsiteY242" fmla="*/ 161907 h 3126087"/>
              <a:gd name="connsiteX243" fmla="*/ 251460 w 2701485"/>
              <a:gd name="connsiteY243" fmla="*/ 47607 h 3126087"/>
              <a:gd name="connsiteX244" fmla="*/ 312420 w 2701485"/>
              <a:gd name="connsiteY244" fmla="*/ 9507 h 3126087"/>
              <a:gd name="connsiteX245" fmla="*/ 342900 w 2701485"/>
              <a:gd name="connsiteY245" fmla="*/ 1887 h 3126087"/>
              <a:gd name="connsiteX246" fmla="*/ 381000 w 2701485"/>
              <a:gd name="connsiteY246" fmla="*/ 1887 h 312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2701485" h="3126087">
                <a:moveTo>
                  <a:pt x="266700" y="17127"/>
                </a:moveTo>
                <a:cubicBezTo>
                  <a:pt x="424360" y="531"/>
                  <a:pt x="363896" y="-7630"/>
                  <a:pt x="449580" y="9507"/>
                </a:cubicBezTo>
                <a:cubicBezTo>
                  <a:pt x="457200" y="14587"/>
                  <a:pt x="465964" y="18271"/>
                  <a:pt x="472440" y="24747"/>
                </a:cubicBezTo>
                <a:cubicBezTo>
                  <a:pt x="478916" y="31223"/>
                  <a:pt x="480788" y="41576"/>
                  <a:pt x="487680" y="47607"/>
                </a:cubicBezTo>
                <a:cubicBezTo>
                  <a:pt x="501464" y="59668"/>
                  <a:pt x="533400" y="78087"/>
                  <a:pt x="533400" y="78087"/>
                </a:cubicBezTo>
                <a:lnTo>
                  <a:pt x="563880" y="123807"/>
                </a:lnTo>
                <a:lnTo>
                  <a:pt x="579120" y="146667"/>
                </a:lnTo>
                <a:cubicBezTo>
                  <a:pt x="574040" y="154287"/>
                  <a:pt x="567976" y="161336"/>
                  <a:pt x="563880" y="169527"/>
                </a:cubicBezTo>
                <a:cubicBezTo>
                  <a:pt x="560288" y="176711"/>
                  <a:pt x="561940" y="186707"/>
                  <a:pt x="556260" y="192387"/>
                </a:cubicBezTo>
                <a:cubicBezTo>
                  <a:pt x="543308" y="205339"/>
                  <a:pt x="510540" y="222867"/>
                  <a:pt x="510540" y="222867"/>
                </a:cubicBezTo>
                <a:cubicBezTo>
                  <a:pt x="508000" y="230487"/>
                  <a:pt x="506512" y="238543"/>
                  <a:pt x="502920" y="245727"/>
                </a:cubicBezTo>
                <a:cubicBezTo>
                  <a:pt x="498824" y="253918"/>
                  <a:pt x="491288" y="260169"/>
                  <a:pt x="487680" y="268587"/>
                </a:cubicBezTo>
                <a:cubicBezTo>
                  <a:pt x="483555" y="278213"/>
                  <a:pt x="482600" y="288907"/>
                  <a:pt x="480060" y="299067"/>
                </a:cubicBezTo>
                <a:lnTo>
                  <a:pt x="495300" y="344787"/>
                </a:lnTo>
                <a:cubicBezTo>
                  <a:pt x="497840" y="352407"/>
                  <a:pt x="495300" y="365107"/>
                  <a:pt x="502920" y="367647"/>
                </a:cubicBezTo>
                <a:lnTo>
                  <a:pt x="525780" y="375267"/>
                </a:lnTo>
                <a:cubicBezTo>
                  <a:pt x="530860" y="382887"/>
                  <a:pt x="536924" y="389936"/>
                  <a:pt x="541020" y="398127"/>
                </a:cubicBezTo>
                <a:cubicBezTo>
                  <a:pt x="556455" y="428996"/>
                  <a:pt x="540279" y="448680"/>
                  <a:pt x="594360" y="466707"/>
                </a:cubicBezTo>
                <a:cubicBezTo>
                  <a:pt x="648768" y="484843"/>
                  <a:pt x="626714" y="473036"/>
                  <a:pt x="662940" y="497187"/>
                </a:cubicBezTo>
                <a:cubicBezTo>
                  <a:pt x="668020" y="504807"/>
                  <a:pt x="671704" y="513571"/>
                  <a:pt x="678180" y="520047"/>
                </a:cubicBezTo>
                <a:cubicBezTo>
                  <a:pt x="684656" y="526523"/>
                  <a:pt x="695009" y="528395"/>
                  <a:pt x="701040" y="535287"/>
                </a:cubicBezTo>
                <a:cubicBezTo>
                  <a:pt x="713101" y="549071"/>
                  <a:pt x="714144" y="575215"/>
                  <a:pt x="731520" y="581007"/>
                </a:cubicBezTo>
                <a:lnTo>
                  <a:pt x="777240" y="596247"/>
                </a:lnTo>
                <a:cubicBezTo>
                  <a:pt x="792480" y="593707"/>
                  <a:pt x="807878" y="591979"/>
                  <a:pt x="822960" y="588627"/>
                </a:cubicBezTo>
                <a:cubicBezTo>
                  <a:pt x="830801" y="586885"/>
                  <a:pt x="837788" y="581007"/>
                  <a:pt x="845820" y="581007"/>
                </a:cubicBezTo>
                <a:cubicBezTo>
                  <a:pt x="868821" y="581007"/>
                  <a:pt x="891540" y="586087"/>
                  <a:pt x="914400" y="588627"/>
                </a:cubicBezTo>
                <a:cubicBezTo>
                  <a:pt x="950626" y="612778"/>
                  <a:pt x="928572" y="600971"/>
                  <a:pt x="982980" y="619107"/>
                </a:cubicBezTo>
                <a:lnTo>
                  <a:pt x="1005840" y="626727"/>
                </a:lnTo>
                <a:cubicBezTo>
                  <a:pt x="1013460" y="629267"/>
                  <a:pt x="1020682" y="633875"/>
                  <a:pt x="1028700" y="634347"/>
                </a:cubicBezTo>
                <a:lnTo>
                  <a:pt x="1158240" y="641967"/>
                </a:lnTo>
                <a:lnTo>
                  <a:pt x="1303020" y="649587"/>
                </a:lnTo>
                <a:lnTo>
                  <a:pt x="1371600" y="672447"/>
                </a:lnTo>
                <a:lnTo>
                  <a:pt x="1394460" y="680067"/>
                </a:lnTo>
                <a:cubicBezTo>
                  <a:pt x="1399540" y="690227"/>
                  <a:pt x="1409700" y="699188"/>
                  <a:pt x="1409700" y="710547"/>
                </a:cubicBezTo>
                <a:cubicBezTo>
                  <a:pt x="1409700" y="719705"/>
                  <a:pt x="1398556" y="725216"/>
                  <a:pt x="1394460" y="733407"/>
                </a:cubicBezTo>
                <a:cubicBezTo>
                  <a:pt x="1390868" y="740591"/>
                  <a:pt x="1389380" y="748647"/>
                  <a:pt x="1386840" y="756267"/>
                </a:cubicBezTo>
                <a:cubicBezTo>
                  <a:pt x="1389380" y="763887"/>
                  <a:pt x="1389442" y="772855"/>
                  <a:pt x="1394460" y="779127"/>
                </a:cubicBezTo>
                <a:cubicBezTo>
                  <a:pt x="1400181" y="786278"/>
                  <a:pt x="1412466" y="786601"/>
                  <a:pt x="1417320" y="794367"/>
                </a:cubicBezTo>
                <a:cubicBezTo>
                  <a:pt x="1425834" y="807990"/>
                  <a:pt x="1432560" y="840087"/>
                  <a:pt x="1432560" y="840087"/>
                </a:cubicBezTo>
                <a:cubicBezTo>
                  <a:pt x="1424940" y="847707"/>
                  <a:pt x="1415678" y="853981"/>
                  <a:pt x="1409700" y="862947"/>
                </a:cubicBezTo>
                <a:cubicBezTo>
                  <a:pt x="1399279" y="878578"/>
                  <a:pt x="1398416" y="909400"/>
                  <a:pt x="1409700" y="923907"/>
                </a:cubicBezTo>
                <a:cubicBezTo>
                  <a:pt x="1420945" y="938365"/>
                  <a:pt x="1440180" y="944227"/>
                  <a:pt x="1455420" y="954387"/>
                </a:cubicBezTo>
                <a:lnTo>
                  <a:pt x="1478280" y="969627"/>
                </a:lnTo>
                <a:cubicBezTo>
                  <a:pt x="1481778" y="980122"/>
                  <a:pt x="1487218" y="1012035"/>
                  <a:pt x="1508760" y="1007727"/>
                </a:cubicBezTo>
                <a:cubicBezTo>
                  <a:pt x="1517740" y="1005931"/>
                  <a:pt x="1518920" y="992487"/>
                  <a:pt x="1524000" y="984867"/>
                </a:cubicBezTo>
                <a:cubicBezTo>
                  <a:pt x="1521460" y="977247"/>
                  <a:pt x="1513397" y="969465"/>
                  <a:pt x="1516380" y="962007"/>
                </a:cubicBezTo>
                <a:cubicBezTo>
                  <a:pt x="1519781" y="953504"/>
                  <a:pt x="1531049" y="950863"/>
                  <a:pt x="1539240" y="946767"/>
                </a:cubicBezTo>
                <a:cubicBezTo>
                  <a:pt x="1602336" y="915219"/>
                  <a:pt x="1519446" y="967583"/>
                  <a:pt x="1584960" y="923907"/>
                </a:cubicBezTo>
                <a:cubicBezTo>
                  <a:pt x="1587500" y="916287"/>
                  <a:pt x="1586044" y="905716"/>
                  <a:pt x="1592580" y="901047"/>
                </a:cubicBezTo>
                <a:cubicBezTo>
                  <a:pt x="1605652" y="891710"/>
                  <a:pt x="1638300" y="885807"/>
                  <a:pt x="1638300" y="885807"/>
                </a:cubicBezTo>
                <a:cubicBezTo>
                  <a:pt x="1653540" y="890887"/>
                  <a:pt x="1675109" y="887681"/>
                  <a:pt x="1684020" y="901047"/>
                </a:cubicBezTo>
                <a:cubicBezTo>
                  <a:pt x="1703715" y="930590"/>
                  <a:pt x="1690572" y="921011"/>
                  <a:pt x="1722120" y="931527"/>
                </a:cubicBezTo>
                <a:cubicBezTo>
                  <a:pt x="1718537" y="981690"/>
                  <a:pt x="1706780" y="1040413"/>
                  <a:pt x="1722120" y="1091547"/>
                </a:cubicBezTo>
                <a:cubicBezTo>
                  <a:pt x="1724752" y="1100319"/>
                  <a:pt x="1730884" y="1107931"/>
                  <a:pt x="1737360" y="1114407"/>
                </a:cubicBezTo>
                <a:cubicBezTo>
                  <a:pt x="1743836" y="1120883"/>
                  <a:pt x="1752600" y="1124567"/>
                  <a:pt x="1760220" y="1129647"/>
                </a:cubicBezTo>
                <a:cubicBezTo>
                  <a:pt x="1765300" y="1137267"/>
                  <a:pt x="1768984" y="1146031"/>
                  <a:pt x="1775460" y="1152507"/>
                </a:cubicBezTo>
                <a:cubicBezTo>
                  <a:pt x="1781936" y="1158983"/>
                  <a:pt x="1793466" y="1159981"/>
                  <a:pt x="1798320" y="1167747"/>
                </a:cubicBezTo>
                <a:lnTo>
                  <a:pt x="1821180" y="1236327"/>
                </a:lnTo>
                <a:cubicBezTo>
                  <a:pt x="1823720" y="1243947"/>
                  <a:pt x="1822117" y="1254732"/>
                  <a:pt x="1828800" y="1259187"/>
                </a:cubicBezTo>
                <a:lnTo>
                  <a:pt x="1851660" y="1274427"/>
                </a:lnTo>
                <a:lnTo>
                  <a:pt x="1836420" y="1320147"/>
                </a:lnTo>
                <a:lnTo>
                  <a:pt x="1828800" y="1343007"/>
                </a:lnTo>
                <a:cubicBezTo>
                  <a:pt x="1831340" y="1373487"/>
                  <a:pt x="1830422" y="1404455"/>
                  <a:pt x="1836420" y="1434447"/>
                </a:cubicBezTo>
                <a:cubicBezTo>
                  <a:pt x="1839807" y="1451380"/>
                  <a:pt x="1860973" y="1465774"/>
                  <a:pt x="1874520" y="1472547"/>
                </a:cubicBezTo>
                <a:cubicBezTo>
                  <a:pt x="1881704" y="1476139"/>
                  <a:pt x="1890196" y="1476575"/>
                  <a:pt x="1897380" y="1480167"/>
                </a:cubicBezTo>
                <a:cubicBezTo>
                  <a:pt x="1956466" y="1509710"/>
                  <a:pt x="1885641" y="1483874"/>
                  <a:pt x="1943100" y="1503027"/>
                </a:cubicBezTo>
                <a:cubicBezTo>
                  <a:pt x="1960880" y="1500487"/>
                  <a:pt x="1978828" y="1498929"/>
                  <a:pt x="1996440" y="1495407"/>
                </a:cubicBezTo>
                <a:cubicBezTo>
                  <a:pt x="2004316" y="1493832"/>
                  <a:pt x="2011268" y="1487787"/>
                  <a:pt x="2019300" y="1487787"/>
                </a:cubicBezTo>
                <a:cubicBezTo>
                  <a:pt x="2027332" y="1487787"/>
                  <a:pt x="2034540" y="1492867"/>
                  <a:pt x="2042160" y="1495407"/>
                </a:cubicBezTo>
                <a:cubicBezTo>
                  <a:pt x="2025535" y="1545283"/>
                  <a:pt x="2048625" y="1496331"/>
                  <a:pt x="2011680" y="1525887"/>
                </a:cubicBezTo>
                <a:cubicBezTo>
                  <a:pt x="2004529" y="1531608"/>
                  <a:pt x="2001520" y="1541127"/>
                  <a:pt x="1996440" y="1548747"/>
                </a:cubicBezTo>
                <a:lnTo>
                  <a:pt x="2026920" y="1594467"/>
                </a:lnTo>
                <a:cubicBezTo>
                  <a:pt x="2032000" y="1602087"/>
                  <a:pt x="2033472" y="1614431"/>
                  <a:pt x="2042160" y="1617327"/>
                </a:cubicBezTo>
                <a:lnTo>
                  <a:pt x="2065020" y="1624947"/>
                </a:lnTo>
                <a:lnTo>
                  <a:pt x="2095500" y="1670667"/>
                </a:lnTo>
                <a:cubicBezTo>
                  <a:pt x="2100580" y="1678287"/>
                  <a:pt x="2103120" y="1688447"/>
                  <a:pt x="2110740" y="1693527"/>
                </a:cubicBezTo>
                <a:cubicBezTo>
                  <a:pt x="2142308" y="1714572"/>
                  <a:pt x="2130683" y="1703159"/>
                  <a:pt x="2156460" y="1739247"/>
                </a:cubicBezTo>
                <a:cubicBezTo>
                  <a:pt x="2161783" y="1746699"/>
                  <a:pt x="2164808" y="1756076"/>
                  <a:pt x="2171700" y="1762107"/>
                </a:cubicBezTo>
                <a:cubicBezTo>
                  <a:pt x="2185484" y="1774168"/>
                  <a:pt x="2217420" y="1792587"/>
                  <a:pt x="2217420" y="1792587"/>
                </a:cubicBezTo>
                <a:cubicBezTo>
                  <a:pt x="2222500" y="1800207"/>
                  <a:pt x="2229052" y="1807029"/>
                  <a:pt x="2232660" y="1815447"/>
                </a:cubicBezTo>
                <a:cubicBezTo>
                  <a:pt x="2236785" y="1825073"/>
                  <a:pt x="2234471" y="1837213"/>
                  <a:pt x="2240280" y="1845927"/>
                </a:cubicBezTo>
                <a:cubicBezTo>
                  <a:pt x="2245360" y="1853547"/>
                  <a:pt x="2255189" y="1856623"/>
                  <a:pt x="2263140" y="1861167"/>
                </a:cubicBezTo>
                <a:cubicBezTo>
                  <a:pt x="2294534" y="1879106"/>
                  <a:pt x="2301871" y="1879157"/>
                  <a:pt x="2339340" y="1891647"/>
                </a:cubicBezTo>
                <a:cubicBezTo>
                  <a:pt x="2346960" y="1894187"/>
                  <a:pt x="2355517" y="1894812"/>
                  <a:pt x="2362200" y="1899267"/>
                </a:cubicBezTo>
                <a:lnTo>
                  <a:pt x="2407920" y="1929747"/>
                </a:lnTo>
                <a:cubicBezTo>
                  <a:pt x="2413000" y="1937367"/>
                  <a:pt x="2416684" y="1946131"/>
                  <a:pt x="2423160" y="1952607"/>
                </a:cubicBezTo>
                <a:cubicBezTo>
                  <a:pt x="2429636" y="1959083"/>
                  <a:pt x="2441166" y="1960081"/>
                  <a:pt x="2446020" y="1967847"/>
                </a:cubicBezTo>
                <a:lnTo>
                  <a:pt x="2468880" y="2036427"/>
                </a:lnTo>
                <a:cubicBezTo>
                  <a:pt x="2471420" y="2044047"/>
                  <a:pt x="2472045" y="2052604"/>
                  <a:pt x="2476500" y="2059287"/>
                </a:cubicBezTo>
                <a:cubicBezTo>
                  <a:pt x="2496195" y="2088830"/>
                  <a:pt x="2488844" y="2073459"/>
                  <a:pt x="2499360" y="2105007"/>
                </a:cubicBezTo>
                <a:cubicBezTo>
                  <a:pt x="2496820" y="2130407"/>
                  <a:pt x="2497480" y="2156334"/>
                  <a:pt x="2491740" y="2181207"/>
                </a:cubicBezTo>
                <a:cubicBezTo>
                  <a:pt x="2482798" y="2219954"/>
                  <a:pt x="2449910" y="2189920"/>
                  <a:pt x="2484120" y="2249787"/>
                </a:cubicBezTo>
                <a:cubicBezTo>
                  <a:pt x="2488105" y="2256761"/>
                  <a:pt x="2499796" y="2253815"/>
                  <a:pt x="2506980" y="2257407"/>
                </a:cubicBezTo>
                <a:cubicBezTo>
                  <a:pt x="2515171" y="2261503"/>
                  <a:pt x="2521471" y="2268928"/>
                  <a:pt x="2529840" y="2272647"/>
                </a:cubicBezTo>
                <a:cubicBezTo>
                  <a:pt x="2544520" y="2279171"/>
                  <a:pt x="2575560" y="2287887"/>
                  <a:pt x="2575560" y="2287887"/>
                </a:cubicBezTo>
                <a:cubicBezTo>
                  <a:pt x="2611120" y="2341227"/>
                  <a:pt x="2590800" y="2323447"/>
                  <a:pt x="2628900" y="2348847"/>
                </a:cubicBezTo>
                <a:cubicBezTo>
                  <a:pt x="2648701" y="2408251"/>
                  <a:pt x="2650072" y="2403007"/>
                  <a:pt x="2628900" y="2508867"/>
                </a:cubicBezTo>
                <a:cubicBezTo>
                  <a:pt x="2627104" y="2517847"/>
                  <a:pt x="2613660" y="2519027"/>
                  <a:pt x="2606040" y="2524107"/>
                </a:cubicBezTo>
                <a:lnTo>
                  <a:pt x="2583180" y="2592687"/>
                </a:lnTo>
                <a:lnTo>
                  <a:pt x="2575560" y="2615547"/>
                </a:lnTo>
                <a:cubicBezTo>
                  <a:pt x="2578100" y="2635867"/>
                  <a:pt x="2577792" y="2656750"/>
                  <a:pt x="2583180" y="2676507"/>
                </a:cubicBezTo>
                <a:cubicBezTo>
                  <a:pt x="2587158" y="2691094"/>
                  <a:pt x="2612230" y="2713177"/>
                  <a:pt x="2621280" y="2722227"/>
                </a:cubicBezTo>
                <a:cubicBezTo>
                  <a:pt x="2638495" y="2773873"/>
                  <a:pt x="2619008" y="2710868"/>
                  <a:pt x="2636520" y="2798427"/>
                </a:cubicBezTo>
                <a:cubicBezTo>
                  <a:pt x="2638095" y="2806303"/>
                  <a:pt x="2639122" y="2815015"/>
                  <a:pt x="2644140" y="2821287"/>
                </a:cubicBezTo>
                <a:cubicBezTo>
                  <a:pt x="2649861" y="2828438"/>
                  <a:pt x="2659380" y="2831447"/>
                  <a:pt x="2667000" y="2836527"/>
                </a:cubicBezTo>
                <a:cubicBezTo>
                  <a:pt x="2689305" y="2869984"/>
                  <a:pt x="2717856" y="2890793"/>
                  <a:pt x="2689860" y="2935587"/>
                </a:cubicBezTo>
                <a:cubicBezTo>
                  <a:pt x="2684309" y="2944468"/>
                  <a:pt x="2669761" y="2941823"/>
                  <a:pt x="2659380" y="2943207"/>
                </a:cubicBezTo>
                <a:cubicBezTo>
                  <a:pt x="2631571" y="2946915"/>
                  <a:pt x="2603500" y="2948287"/>
                  <a:pt x="2575560" y="2950827"/>
                </a:cubicBezTo>
                <a:cubicBezTo>
                  <a:pt x="2560320" y="2955907"/>
                  <a:pt x="2545592" y="2962917"/>
                  <a:pt x="2529840" y="2966067"/>
                </a:cubicBezTo>
                <a:cubicBezTo>
                  <a:pt x="2483864" y="2975262"/>
                  <a:pt x="2504027" y="2969591"/>
                  <a:pt x="2468880" y="2981307"/>
                </a:cubicBezTo>
                <a:cubicBezTo>
                  <a:pt x="2461260" y="2988927"/>
                  <a:pt x="2451367" y="2994811"/>
                  <a:pt x="2446020" y="3004167"/>
                </a:cubicBezTo>
                <a:cubicBezTo>
                  <a:pt x="2445756" y="3004628"/>
                  <a:pt x="2434576" y="3053711"/>
                  <a:pt x="2430780" y="3057507"/>
                </a:cubicBezTo>
                <a:cubicBezTo>
                  <a:pt x="2425100" y="3063187"/>
                  <a:pt x="2415712" y="3063179"/>
                  <a:pt x="2407920" y="3065127"/>
                </a:cubicBezTo>
                <a:cubicBezTo>
                  <a:pt x="2395355" y="3068268"/>
                  <a:pt x="2382520" y="3070207"/>
                  <a:pt x="2369820" y="3072747"/>
                </a:cubicBezTo>
                <a:cubicBezTo>
                  <a:pt x="2319087" y="3022014"/>
                  <a:pt x="2373725" y="3069836"/>
                  <a:pt x="2324100" y="3042267"/>
                </a:cubicBezTo>
                <a:cubicBezTo>
                  <a:pt x="2308089" y="3033372"/>
                  <a:pt x="2278380" y="3011787"/>
                  <a:pt x="2278380" y="3011787"/>
                </a:cubicBezTo>
                <a:cubicBezTo>
                  <a:pt x="2260600" y="3014327"/>
                  <a:pt x="2239217" y="3008380"/>
                  <a:pt x="2225040" y="3019407"/>
                </a:cubicBezTo>
                <a:cubicBezTo>
                  <a:pt x="2189536" y="3047021"/>
                  <a:pt x="2235211" y="3092217"/>
                  <a:pt x="2179320" y="3110847"/>
                </a:cubicBezTo>
                <a:lnTo>
                  <a:pt x="2133600" y="3126087"/>
                </a:lnTo>
                <a:cubicBezTo>
                  <a:pt x="2090431" y="3119920"/>
                  <a:pt x="2085708" y="3121112"/>
                  <a:pt x="2049780" y="3110847"/>
                </a:cubicBezTo>
                <a:cubicBezTo>
                  <a:pt x="2042057" y="3108640"/>
                  <a:pt x="2034104" y="3106819"/>
                  <a:pt x="2026920" y="3103227"/>
                </a:cubicBezTo>
                <a:cubicBezTo>
                  <a:pt x="2018729" y="3099131"/>
                  <a:pt x="2011680" y="3093067"/>
                  <a:pt x="2004060" y="3087987"/>
                </a:cubicBezTo>
                <a:cubicBezTo>
                  <a:pt x="1992815" y="3071119"/>
                  <a:pt x="1983561" y="3054001"/>
                  <a:pt x="1965960" y="3042267"/>
                </a:cubicBezTo>
                <a:cubicBezTo>
                  <a:pt x="1959277" y="3037812"/>
                  <a:pt x="1950720" y="3037187"/>
                  <a:pt x="1943100" y="3034647"/>
                </a:cubicBezTo>
                <a:cubicBezTo>
                  <a:pt x="1940560" y="3024487"/>
                  <a:pt x="1942022" y="3012345"/>
                  <a:pt x="1935480" y="3004167"/>
                </a:cubicBezTo>
                <a:cubicBezTo>
                  <a:pt x="1930462" y="2997895"/>
                  <a:pt x="1919594" y="3000532"/>
                  <a:pt x="1912620" y="2996547"/>
                </a:cubicBezTo>
                <a:cubicBezTo>
                  <a:pt x="1901593" y="2990246"/>
                  <a:pt x="1890577" y="2983179"/>
                  <a:pt x="1882140" y="2973687"/>
                </a:cubicBezTo>
                <a:cubicBezTo>
                  <a:pt x="1869971" y="2959997"/>
                  <a:pt x="1866900" y="2938127"/>
                  <a:pt x="1851660" y="2927967"/>
                </a:cubicBezTo>
                <a:cubicBezTo>
                  <a:pt x="1844040" y="2922887"/>
                  <a:pt x="1835835" y="2918590"/>
                  <a:pt x="1828800" y="2912727"/>
                </a:cubicBezTo>
                <a:cubicBezTo>
                  <a:pt x="1820521" y="2905828"/>
                  <a:pt x="1812556" y="2898373"/>
                  <a:pt x="1805940" y="2889867"/>
                </a:cubicBezTo>
                <a:cubicBezTo>
                  <a:pt x="1794695" y="2875409"/>
                  <a:pt x="1775460" y="2844147"/>
                  <a:pt x="1775460" y="2844147"/>
                </a:cubicBezTo>
                <a:cubicBezTo>
                  <a:pt x="1772920" y="2833987"/>
                  <a:pt x="1770849" y="2823698"/>
                  <a:pt x="1767840" y="2813667"/>
                </a:cubicBezTo>
                <a:cubicBezTo>
                  <a:pt x="1763224" y="2798280"/>
                  <a:pt x="1755750" y="2783699"/>
                  <a:pt x="1752600" y="2767947"/>
                </a:cubicBezTo>
                <a:cubicBezTo>
                  <a:pt x="1750060" y="2755247"/>
                  <a:pt x="1748388" y="2742342"/>
                  <a:pt x="1744980" y="2729847"/>
                </a:cubicBezTo>
                <a:cubicBezTo>
                  <a:pt x="1740753" y="2714349"/>
                  <a:pt x="1743106" y="2693038"/>
                  <a:pt x="1729740" y="2684127"/>
                </a:cubicBezTo>
                <a:cubicBezTo>
                  <a:pt x="1698166" y="2663078"/>
                  <a:pt x="1715765" y="2671108"/>
                  <a:pt x="1676400" y="2661267"/>
                </a:cubicBezTo>
                <a:cubicBezTo>
                  <a:pt x="1663700" y="2663807"/>
                  <a:pt x="1650865" y="2665746"/>
                  <a:pt x="1638300" y="2668887"/>
                </a:cubicBezTo>
                <a:cubicBezTo>
                  <a:pt x="1630508" y="2670835"/>
                  <a:pt x="1623391" y="2675371"/>
                  <a:pt x="1615440" y="2676507"/>
                </a:cubicBezTo>
                <a:cubicBezTo>
                  <a:pt x="1587667" y="2680475"/>
                  <a:pt x="1559560" y="2681587"/>
                  <a:pt x="1531620" y="2684127"/>
                </a:cubicBezTo>
                <a:cubicBezTo>
                  <a:pt x="1534160" y="2691747"/>
                  <a:pt x="1539240" y="2698955"/>
                  <a:pt x="1539240" y="2706987"/>
                </a:cubicBezTo>
                <a:cubicBezTo>
                  <a:pt x="1539240" y="2716848"/>
                  <a:pt x="1524085" y="2747891"/>
                  <a:pt x="1516380" y="2752707"/>
                </a:cubicBezTo>
                <a:cubicBezTo>
                  <a:pt x="1502757" y="2761221"/>
                  <a:pt x="1470660" y="2767947"/>
                  <a:pt x="1470660" y="2767947"/>
                </a:cubicBezTo>
                <a:cubicBezTo>
                  <a:pt x="1450088" y="2829662"/>
                  <a:pt x="1478499" y="2767892"/>
                  <a:pt x="1356360" y="2798427"/>
                </a:cubicBezTo>
                <a:cubicBezTo>
                  <a:pt x="1347475" y="2800648"/>
                  <a:pt x="1349311" y="2817191"/>
                  <a:pt x="1341120" y="2821287"/>
                </a:cubicBezTo>
                <a:cubicBezTo>
                  <a:pt x="1327301" y="2828197"/>
                  <a:pt x="1310482" y="2825555"/>
                  <a:pt x="1295400" y="2828907"/>
                </a:cubicBezTo>
                <a:cubicBezTo>
                  <a:pt x="1287559" y="2830649"/>
                  <a:pt x="1280160" y="2833987"/>
                  <a:pt x="1272540" y="2836527"/>
                </a:cubicBezTo>
                <a:cubicBezTo>
                  <a:pt x="1259609" y="2875320"/>
                  <a:pt x="1275311" y="2848534"/>
                  <a:pt x="1242060" y="2867007"/>
                </a:cubicBezTo>
                <a:cubicBezTo>
                  <a:pt x="1226049" y="2875902"/>
                  <a:pt x="1196340" y="2897487"/>
                  <a:pt x="1196340" y="2897487"/>
                </a:cubicBezTo>
                <a:cubicBezTo>
                  <a:pt x="1183640" y="2894947"/>
                  <a:pt x="1167398" y="2899025"/>
                  <a:pt x="1158240" y="2889867"/>
                </a:cubicBezTo>
                <a:cubicBezTo>
                  <a:pt x="1152560" y="2884187"/>
                  <a:pt x="1163912" y="2874799"/>
                  <a:pt x="1165860" y="2867007"/>
                </a:cubicBezTo>
                <a:cubicBezTo>
                  <a:pt x="1166377" y="2864937"/>
                  <a:pt x="1174766" y="2813964"/>
                  <a:pt x="1181100" y="2806047"/>
                </a:cubicBezTo>
                <a:cubicBezTo>
                  <a:pt x="1186821" y="2798896"/>
                  <a:pt x="1196340" y="2795887"/>
                  <a:pt x="1203960" y="2790807"/>
                </a:cubicBezTo>
                <a:cubicBezTo>
                  <a:pt x="1209040" y="2783187"/>
                  <a:pt x="1215104" y="2776138"/>
                  <a:pt x="1219200" y="2767947"/>
                </a:cubicBezTo>
                <a:cubicBezTo>
                  <a:pt x="1222792" y="2760763"/>
                  <a:pt x="1226820" y="2753119"/>
                  <a:pt x="1226820" y="2745087"/>
                </a:cubicBezTo>
                <a:cubicBezTo>
                  <a:pt x="1226820" y="2708962"/>
                  <a:pt x="1228967" y="2679911"/>
                  <a:pt x="1196340" y="2661267"/>
                </a:cubicBezTo>
                <a:cubicBezTo>
                  <a:pt x="1187247" y="2656071"/>
                  <a:pt x="1176020" y="2656187"/>
                  <a:pt x="1165860" y="2653647"/>
                </a:cubicBezTo>
                <a:cubicBezTo>
                  <a:pt x="1158240" y="2648567"/>
                  <a:pt x="1151418" y="2642015"/>
                  <a:pt x="1143000" y="2638407"/>
                </a:cubicBezTo>
                <a:cubicBezTo>
                  <a:pt x="1128533" y="2632207"/>
                  <a:pt x="1077114" y="2624886"/>
                  <a:pt x="1066800" y="2623167"/>
                </a:cubicBezTo>
                <a:cubicBezTo>
                  <a:pt x="1046480" y="2625707"/>
                  <a:pt x="1022616" y="2619044"/>
                  <a:pt x="1005840" y="2630787"/>
                </a:cubicBezTo>
                <a:cubicBezTo>
                  <a:pt x="992680" y="2639999"/>
                  <a:pt x="995680" y="2661267"/>
                  <a:pt x="990600" y="2676507"/>
                </a:cubicBezTo>
                <a:cubicBezTo>
                  <a:pt x="988060" y="2684127"/>
                  <a:pt x="990984" y="2698700"/>
                  <a:pt x="982980" y="2699367"/>
                </a:cubicBezTo>
                <a:lnTo>
                  <a:pt x="891540" y="2706987"/>
                </a:lnTo>
                <a:cubicBezTo>
                  <a:pt x="859038" y="2728655"/>
                  <a:pt x="848144" y="2738648"/>
                  <a:pt x="815340" y="2752707"/>
                </a:cubicBezTo>
                <a:cubicBezTo>
                  <a:pt x="790466" y="2763367"/>
                  <a:pt x="787272" y="2757515"/>
                  <a:pt x="762000" y="2775567"/>
                </a:cubicBezTo>
                <a:cubicBezTo>
                  <a:pt x="753231" y="2781831"/>
                  <a:pt x="747419" y="2791528"/>
                  <a:pt x="739140" y="2798427"/>
                </a:cubicBezTo>
                <a:cubicBezTo>
                  <a:pt x="732105" y="2804290"/>
                  <a:pt x="723900" y="2808587"/>
                  <a:pt x="716280" y="2813667"/>
                </a:cubicBezTo>
                <a:cubicBezTo>
                  <a:pt x="711200" y="2821287"/>
                  <a:pt x="708660" y="2831447"/>
                  <a:pt x="701040" y="2836527"/>
                </a:cubicBezTo>
                <a:cubicBezTo>
                  <a:pt x="678306" y="2851683"/>
                  <a:pt x="647350" y="2840279"/>
                  <a:pt x="624840" y="2836527"/>
                </a:cubicBezTo>
                <a:cubicBezTo>
                  <a:pt x="617220" y="2828907"/>
                  <a:pt x="610259" y="2820566"/>
                  <a:pt x="601980" y="2813667"/>
                </a:cubicBezTo>
                <a:cubicBezTo>
                  <a:pt x="552374" y="2772329"/>
                  <a:pt x="517214" y="2795169"/>
                  <a:pt x="434340" y="2790807"/>
                </a:cubicBezTo>
                <a:cubicBezTo>
                  <a:pt x="416560" y="2737467"/>
                  <a:pt x="434340" y="2750167"/>
                  <a:pt x="396240" y="2737467"/>
                </a:cubicBezTo>
                <a:cubicBezTo>
                  <a:pt x="393700" y="2727307"/>
                  <a:pt x="391629" y="2717018"/>
                  <a:pt x="388620" y="2706987"/>
                </a:cubicBezTo>
                <a:cubicBezTo>
                  <a:pt x="384004" y="2691600"/>
                  <a:pt x="373380" y="2661267"/>
                  <a:pt x="373380" y="2661267"/>
                </a:cubicBezTo>
                <a:cubicBezTo>
                  <a:pt x="375920" y="2653647"/>
                  <a:pt x="381000" y="2646439"/>
                  <a:pt x="381000" y="2638407"/>
                </a:cubicBezTo>
                <a:cubicBezTo>
                  <a:pt x="381000" y="2630375"/>
                  <a:pt x="375328" y="2623339"/>
                  <a:pt x="373380" y="2615547"/>
                </a:cubicBezTo>
                <a:cubicBezTo>
                  <a:pt x="370239" y="2602982"/>
                  <a:pt x="369168" y="2589942"/>
                  <a:pt x="365760" y="2577447"/>
                </a:cubicBezTo>
                <a:cubicBezTo>
                  <a:pt x="361533" y="2561949"/>
                  <a:pt x="350520" y="2531727"/>
                  <a:pt x="350520" y="2531727"/>
                </a:cubicBezTo>
                <a:cubicBezTo>
                  <a:pt x="353060" y="2493627"/>
                  <a:pt x="348879" y="2454471"/>
                  <a:pt x="358140" y="2417427"/>
                </a:cubicBezTo>
                <a:cubicBezTo>
                  <a:pt x="360088" y="2409635"/>
                  <a:pt x="376331" y="2416343"/>
                  <a:pt x="381000" y="2409807"/>
                </a:cubicBezTo>
                <a:cubicBezTo>
                  <a:pt x="390337" y="2396735"/>
                  <a:pt x="396240" y="2364087"/>
                  <a:pt x="396240" y="2364087"/>
                </a:cubicBezTo>
                <a:cubicBezTo>
                  <a:pt x="398780" y="2333607"/>
                  <a:pt x="399818" y="2302964"/>
                  <a:pt x="403860" y="2272647"/>
                </a:cubicBezTo>
                <a:cubicBezTo>
                  <a:pt x="404922" y="2264685"/>
                  <a:pt x="411480" y="2257819"/>
                  <a:pt x="411480" y="2249787"/>
                </a:cubicBezTo>
                <a:cubicBezTo>
                  <a:pt x="411480" y="2234337"/>
                  <a:pt x="414034" y="2215694"/>
                  <a:pt x="403860" y="2204067"/>
                </a:cubicBezTo>
                <a:cubicBezTo>
                  <a:pt x="393282" y="2191977"/>
                  <a:pt x="358140" y="2188827"/>
                  <a:pt x="358140" y="2188827"/>
                </a:cubicBezTo>
                <a:lnTo>
                  <a:pt x="335280" y="2120247"/>
                </a:lnTo>
                <a:cubicBezTo>
                  <a:pt x="332740" y="2112627"/>
                  <a:pt x="335280" y="2099927"/>
                  <a:pt x="327660" y="2097387"/>
                </a:cubicBezTo>
                <a:lnTo>
                  <a:pt x="304800" y="2089767"/>
                </a:lnTo>
                <a:cubicBezTo>
                  <a:pt x="296107" y="2063687"/>
                  <a:pt x="284403" y="2015209"/>
                  <a:pt x="259080" y="1998327"/>
                </a:cubicBezTo>
                <a:lnTo>
                  <a:pt x="236220" y="1983087"/>
                </a:lnTo>
                <a:cubicBezTo>
                  <a:pt x="201285" y="1930684"/>
                  <a:pt x="223116" y="1943159"/>
                  <a:pt x="182880" y="1929747"/>
                </a:cubicBezTo>
                <a:cubicBezTo>
                  <a:pt x="180340" y="1922127"/>
                  <a:pt x="179161" y="1913908"/>
                  <a:pt x="175260" y="1906887"/>
                </a:cubicBezTo>
                <a:cubicBezTo>
                  <a:pt x="166365" y="1890876"/>
                  <a:pt x="150572" y="1878543"/>
                  <a:pt x="144780" y="1861167"/>
                </a:cubicBezTo>
                <a:lnTo>
                  <a:pt x="137160" y="1838307"/>
                </a:lnTo>
                <a:cubicBezTo>
                  <a:pt x="156313" y="1780848"/>
                  <a:pt x="130477" y="1851673"/>
                  <a:pt x="160020" y="1792587"/>
                </a:cubicBezTo>
                <a:cubicBezTo>
                  <a:pt x="163612" y="1785403"/>
                  <a:pt x="165100" y="1777347"/>
                  <a:pt x="167640" y="1769727"/>
                </a:cubicBezTo>
                <a:cubicBezTo>
                  <a:pt x="165100" y="1736707"/>
                  <a:pt x="164128" y="1703529"/>
                  <a:pt x="160020" y="1670667"/>
                </a:cubicBezTo>
                <a:cubicBezTo>
                  <a:pt x="159024" y="1662697"/>
                  <a:pt x="157418" y="1654079"/>
                  <a:pt x="152400" y="1647807"/>
                </a:cubicBezTo>
                <a:cubicBezTo>
                  <a:pt x="146679" y="1640656"/>
                  <a:pt x="137160" y="1637647"/>
                  <a:pt x="129540" y="1632567"/>
                </a:cubicBezTo>
                <a:cubicBezTo>
                  <a:pt x="127000" y="1624947"/>
                  <a:pt x="128456" y="1614376"/>
                  <a:pt x="121920" y="1609707"/>
                </a:cubicBezTo>
                <a:cubicBezTo>
                  <a:pt x="108848" y="1600370"/>
                  <a:pt x="76200" y="1594467"/>
                  <a:pt x="76200" y="1594467"/>
                </a:cubicBezTo>
                <a:cubicBezTo>
                  <a:pt x="32524" y="1528953"/>
                  <a:pt x="84888" y="1611843"/>
                  <a:pt x="53340" y="1548747"/>
                </a:cubicBezTo>
                <a:cubicBezTo>
                  <a:pt x="49244" y="1540556"/>
                  <a:pt x="41819" y="1534256"/>
                  <a:pt x="38100" y="1525887"/>
                </a:cubicBezTo>
                <a:cubicBezTo>
                  <a:pt x="31576" y="1511207"/>
                  <a:pt x="27940" y="1495407"/>
                  <a:pt x="22860" y="1480167"/>
                </a:cubicBezTo>
                <a:lnTo>
                  <a:pt x="7620" y="1434447"/>
                </a:lnTo>
                <a:lnTo>
                  <a:pt x="0" y="1411587"/>
                </a:lnTo>
                <a:cubicBezTo>
                  <a:pt x="3979" y="1371800"/>
                  <a:pt x="-4906" y="1340293"/>
                  <a:pt x="22860" y="1312527"/>
                </a:cubicBezTo>
                <a:cubicBezTo>
                  <a:pt x="29336" y="1306051"/>
                  <a:pt x="38100" y="1302367"/>
                  <a:pt x="45720" y="1297287"/>
                </a:cubicBezTo>
                <a:cubicBezTo>
                  <a:pt x="48260" y="1282047"/>
                  <a:pt x="50576" y="1266768"/>
                  <a:pt x="53340" y="1251567"/>
                </a:cubicBezTo>
                <a:cubicBezTo>
                  <a:pt x="55657" y="1238824"/>
                  <a:pt x="51802" y="1222625"/>
                  <a:pt x="60960" y="1213467"/>
                </a:cubicBezTo>
                <a:cubicBezTo>
                  <a:pt x="72319" y="1202108"/>
                  <a:pt x="93314" y="1207138"/>
                  <a:pt x="106680" y="1198227"/>
                </a:cubicBezTo>
                <a:lnTo>
                  <a:pt x="129540" y="1182987"/>
                </a:lnTo>
                <a:lnTo>
                  <a:pt x="144780" y="1137267"/>
                </a:lnTo>
                <a:cubicBezTo>
                  <a:pt x="153569" y="1110901"/>
                  <a:pt x="147686" y="1112954"/>
                  <a:pt x="175260" y="1099167"/>
                </a:cubicBezTo>
                <a:cubicBezTo>
                  <a:pt x="182444" y="1095575"/>
                  <a:pt x="190137" y="1092434"/>
                  <a:pt x="198120" y="1091547"/>
                </a:cubicBezTo>
                <a:cubicBezTo>
                  <a:pt x="236071" y="1087330"/>
                  <a:pt x="274320" y="1086467"/>
                  <a:pt x="312420" y="1083927"/>
                </a:cubicBezTo>
                <a:cubicBezTo>
                  <a:pt x="300497" y="1048159"/>
                  <a:pt x="297180" y="1043529"/>
                  <a:pt x="297180" y="992487"/>
                </a:cubicBezTo>
                <a:cubicBezTo>
                  <a:pt x="297180" y="984455"/>
                  <a:pt x="299782" y="975899"/>
                  <a:pt x="304800" y="969627"/>
                </a:cubicBezTo>
                <a:cubicBezTo>
                  <a:pt x="310521" y="962476"/>
                  <a:pt x="319291" y="958106"/>
                  <a:pt x="327660" y="954387"/>
                </a:cubicBezTo>
                <a:cubicBezTo>
                  <a:pt x="342340" y="947863"/>
                  <a:pt x="373380" y="939147"/>
                  <a:pt x="373380" y="939147"/>
                </a:cubicBezTo>
                <a:cubicBezTo>
                  <a:pt x="391160" y="941687"/>
                  <a:pt x="408759" y="946767"/>
                  <a:pt x="426720" y="946767"/>
                </a:cubicBezTo>
                <a:cubicBezTo>
                  <a:pt x="434752" y="946767"/>
                  <a:pt x="448444" y="947098"/>
                  <a:pt x="449580" y="939147"/>
                </a:cubicBezTo>
                <a:cubicBezTo>
                  <a:pt x="451852" y="923244"/>
                  <a:pt x="434340" y="893427"/>
                  <a:pt x="434340" y="893427"/>
                </a:cubicBezTo>
                <a:cubicBezTo>
                  <a:pt x="420493" y="713416"/>
                  <a:pt x="446618" y="841783"/>
                  <a:pt x="411480" y="771507"/>
                </a:cubicBezTo>
                <a:cubicBezTo>
                  <a:pt x="407888" y="764323"/>
                  <a:pt x="408878" y="754919"/>
                  <a:pt x="403860" y="748647"/>
                </a:cubicBezTo>
                <a:cubicBezTo>
                  <a:pt x="398139" y="741496"/>
                  <a:pt x="388620" y="738487"/>
                  <a:pt x="381000" y="733407"/>
                </a:cubicBezTo>
                <a:cubicBezTo>
                  <a:pt x="377089" y="721673"/>
                  <a:pt x="370305" y="694638"/>
                  <a:pt x="358140" y="687687"/>
                </a:cubicBezTo>
                <a:cubicBezTo>
                  <a:pt x="346895" y="681261"/>
                  <a:pt x="332605" y="683208"/>
                  <a:pt x="320040" y="680067"/>
                </a:cubicBezTo>
                <a:cubicBezTo>
                  <a:pt x="312248" y="678119"/>
                  <a:pt x="304800" y="674987"/>
                  <a:pt x="297180" y="672447"/>
                </a:cubicBezTo>
                <a:cubicBezTo>
                  <a:pt x="294640" y="664827"/>
                  <a:pt x="295240" y="655267"/>
                  <a:pt x="289560" y="649587"/>
                </a:cubicBezTo>
                <a:cubicBezTo>
                  <a:pt x="283880" y="643907"/>
                  <a:pt x="271369" y="648503"/>
                  <a:pt x="266700" y="641967"/>
                </a:cubicBezTo>
                <a:cubicBezTo>
                  <a:pt x="257363" y="628895"/>
                  <a:pt x="256540" y="611487"/>
                  <a:pt x="251460" y="596247"/>
                </a:cubicBezTo>
                <a:cubicBezTo>
                  <a:pt x="248920" y="588627"/>
                  <a:pt x="250523" y="577842"/>
                  <a:pt x="243840" y="573387"/>
                </a:cubicBezTo>
                <a:cubicBezTo>
                  <a:pt x="236220" y="568307"/>
                  <a:pt x="229171" y="562243"/>
                  <a:pt x="220980" y="558147"/>
                </a:cubicBezTo>
                <a:cubicBezTo>
                  <a:pt x="213796" y="554555"/>
                  <a:pt x="205740" y="553067"/>
                  <a:pt x="198120" y="550527"/>
                </a:cubicBezTo>
                <a:cubicBezTo>
                  <a:pt x="184388" y="536795"/>
                  <a:pt x="170965" y="520384"/>
                  <a:pt x="152400" y="512427"/>
                </a:cubicBezTo>
                <a:cubicBezTo>
                  <a:pt x="142774" y="508302"/>
                  <a:pt x="132080" y="507347"/>
                  <a:pt x="121920" y="504807"/>
                </a:cubicBezTo>
                <a:cubicBezTo>
                  <a:pt x="139395" y="452381"/>
                  <a:pt x="119927" y="515766"/>
                  <a:pt x="137160" y="420987"/>
                </a:cubicBezTo>
                <a:cubicBezTo>
                  <a:pt x="138597" y="413084"/>
                  <a:pt x="142974" y="405953"/>
                  <a:pt x="144780" y="398127"/>
                </a:cubicBezTo>
                <a:cubicBezTo>
                  <a:pt x="150605" y="372887"/>
                  <a:pt x="160020" y="321927"/>
                  <a:pt x="160020" y="321927"/>
                </a:cubicBezTo>
                <a:cubicBezTo>
                  <a:pt x="142861" y="218970"/>
                  <a:pt x="165732" y="317635"/>
                  <a:pt x="137160" y="253347"/>
                </a:cubicBezTo>
                <a:cubicBezTo>
                  <a:pt x="130636" y="238667"/>
                  <a:pt x="121920" y="207627"/>
                  <a:pt x="121920" y="207627"/>
                </a:cubicBezTo>
                <a:cubicBezTo>
                  <a:pt x="124460" y="200007"/>
                  <a:pt x="123004" y="189436"/>
                  <a:pt x="129540" y="184767"/>
                </a:cubicBezTo>
                <a:cubicBezTo>
                  <a:pt x="150460" y="169824"/>
                  <a:pt x="206135" y="165116"/>
                  <a:pt x="228600" y="161907"/>
                </a:cubicBezTo>
                <a:cubicBezTo>
                  <a:pt x="265825" y="106070"/>
                  <a:pt x="226318" y="173315"/>
                  <a:pt x="251460" y="47607"/>
                </a:cubicBezTo>
                <a:cubicBezTo>
                  <a:pt x="257271" y="18550"/>
                  <a:pt x="290182" y="15067"/>
                  <a:pt x="312420" y="9507"/>
                </a:cubicBezTo>
                <a:cubicBezTo>
                  <a:pt x="322580" y="6967"/>
                  <a:pt x="332491" y="3044"/>
                  <a:pt x="342900" y="1887"/>
                </a:cubicBezTo>
                <a:cubicBezTo>
                  <a:pt x="355522" y="485"/>
                  <a:pt x="368300" y="1887"/>
                  <a:pt x="381000" y="1887"/>
                </a:cubicBezTo>
              </a:path>
            </a:pathLst>
          </a:custGeom>
          <a:solidFill>
            <a:srgbClr val="92D050">
              <a:alpha val="48000"/>
            </a:srgbClr>
          </a:solidFill>
          <a:ln w="762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91" tIns="32146" rIns="64291" bIns="32146" numCol="1" rtlCol="0" anchor="t" anchorCtr="0" compatLnSpc="1">
            <a:prstTxWarp prst="textNoShape">
              <a:avLst/>
            </a:prstTxWarp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58" name="Szövegdoboz 557"/>
          <p:cNvSpPr txBox="1"/>
          <p:nvPr/>
        </p:nvSpPr>
        <p:spPr>
          <a:xfrm>
            <a:off x="4632325" y="3373438"/>
            <a:ext cx="436328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Pest</a:t>
            </a:r>
          </a:p>
        </p:txBody>
      </p:sp>
      <p:sp>
        <p:nvSpPr>
          <p:cNvPr id="559" name="Szövegdoboz 558"/>
          <p:cNvSpPr txBox="1"/>
          <p:nvPr/>
        </p:nvSpPr>
        <p:spPr>
          <a:xfrm>
            <a:off x="3770314" y="5240338"/>
            <a:ext cx="877153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Bács-Kiskun</a:t>
            </a:r>
          </a:p>
        </p:txBody>
      </p:sp>
      <p:sp>
        <p:nvSpPr>
          <p:cNvPr id="560" name="Szövegdoboz 559"/>
          <p:cNvSpPr txBox="1"/>
          <p:nvPr/>
        </p:nvSpPr>
        <p:spPr>
          <a:xfrm>
            <a:off x="2800350" y="4379715"/>
            <a:ext cx="510066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Tolna</a:t>
            </a:r>
          </a:p>
        </p:txBody>
      </p:sp>
      <p:sp>
        <p:nvSpPr>
          <p:cNvPr id="561" name="Szövegdoboz 560"/>
          <p:cNvSpPr txBox="1"/>
          <p:nvPr/>
        </p:nvSpPr>
        <p:spPr>
          <a:xfrm>
            <a:off x="2928938" y="5872164"/>
            <a:ext cx="662351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Baranya</a:t>
            </a:r>
          </a:p>
        </p:txBody>
      </p:sp>
      <p:sp>
        <p:nvSpPr>
          <p:cNvPr id="562" name="Szövegdoboz 561"/>
          <p:cNvSpPr txBox="1"/>
          <p:nvPr/>
        </p:nvSpPr>
        <p:spPr>
          <a:xfrm>
            <a:off x="1965194" y="4439247"/>
            <a:ext cx="652733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Somogy</a:t>
            </a:r>
          </a:p>
        </p:txBody>
      </p:sp>
      <p:sp>
        <p:nvSpPr>
          <p:cNvPr id="563" name="Szövegdoboz 562"/>
          <p:cNvSpPr txBox="1"/>
          <p:nvPr/>
        </p:nvSpPr>
        <p:spPr>
          <a:xfrm>
            <a:off x="1009650" y="4125913"/>
            <a:ext cx="425106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Zala</a:t>
            </a:r>
          </a:p>
        </p:txBody>
      </p:sp>
      <p:sp>
        <p:nvSpPr>
          <p:cNvPr id="564" name="Szövegdoboz 563"/>
          <p:cNvSpPr txBox="1"/>
          <p:nvPr/>
        </p:nvSpPr>
        <p:spPr>
          <a:xfrm>
            <a:off x="1071564" y="3152181"/>
            <a:ext cx="393046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Vas</a:t>
            </a:r>
          </a:p>
        </p:txBody>
      </p:sp>
      <p:sp>
        <p:nvSpPr>
          <p:cNvPr id="565" name="Szövegdoboz 564"/>
          <p:cNvSpPr txBox="1"/>
          <p:nvPr/>
        </p:nvSpPr>
        <p:spPr>
          <a:xfrm>
            <a:off x="1584326" y="3832226"/>
            <a:ext cx="761737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Veszprém</a:t>
            </a:r>
          </a:p>
        </p:txBody>
      </p:sp>
      <p:sp>
        <p:nvSpPr>
          <p:cNvPr id="566" name="Szövegdoboz 565"/>
          <p:cNvSpPr txBox="1"/>
          <p:nvPr/>
        </p:nvSpPr>
        <p:spPr>
          <a:xfrm>
            <a:off x="2474914" y="2428875"/>
            <a:ext cx="896389" cy="430883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Komárom – </a:t>
            </a:r>
          </a:p>
          <a:p>
            <a:r>
              <a:rPr lang="hu-HU" sz="1100" b="1" dirty="0"/>
              <a:t>Esztergom</a:t>
            </a:r>
          </a:p>
        </p:txBody>
      </p:sp>
      <p:sp>
        <p:nvSpPr>
          <p:cNvPr id="567" name="Szövegdoboz 566"/>
          <p:cNvSpPr txBox="1"/>
          <p:nvPr/>
        </p:nvSpPr>
        <p:spPr>
          <a:xfrm>
            <a:off x="936625" y="2588883"/>
            <a:ext cx="1377290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Győr-Moson-Sopron</a:t>
            </a:r>
          </a:p>
        </p:txBody>
      </p:sp>
      <p:sp>
        <p:nvSpPr>
          <p:cNvPr id="568" name="Szövegdoboz 567"/>
          <p:cNvSpPr txBox="1"/>
          <p:nvPr/>
        </p:nvSpPr>
        <p:spPr>
          <a:xfrm>
            <a:off x="2979738" y="3971925"/>
            <a:ext cx="474800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Fejér</a:t>
            </a:r>
          </a:p>
        </p:txBody>
      </p:sp>
      <p:sp>
        <p:nvSpPr>
          <p:cNvPr id="569" name="Szövegdoboz 568"/>
          <p:cNvSpPr txBox="1"/>
          <p:nvPr/>
        </p:nvSpPr>
        <p:spPr>
          <a:xfrm>
            <a:off x="7597776" y="5680075"/>
            <a:ext cx="734486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Budapest</a:t>
            </a:r>
          </a:p>
        </p:txBody>
      </p:sp>
      <p:sp>
        <p:nvSpPr>
          <p:cNvPr id="570" name="Szövegdoboz 569"/>
          <p:cNvSpPr txBox="1"/>
          <p:nvPr/>
        </p:nvSpPr>
        <p:spPr>
          <a:xfrm>
            <a:off x="4014789" y="1936750"/>
            <a:ext cx="614261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Nógrád</a:t>
            </a:r>
          </a:p>
        </p:txBody>
      </p:sp>
      <p:sp>
        <p:nvSpPr>
          <p:cNvPr id="4" name="Téglalap 3"/>
          <p:cNvSpPr/>
          <p:nvPr/>
        </p:nvSpPr>
        <p:spPr>
          <a:xfrm>
            <a:off x="146341" y="6342793"/>
            <a:ext cx="336260" cy="1770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572" name="Téglalap 571"/>
          <p:cNvSpPr/>
          <p:nvPr/>
        </p:nvSpPr>
        <p:spPr>
          <a:xfrm>
            <a:off x="141076" y="6577809"/>
            <a:ext cx="336260" cy="177006"/>
          </a:xfrm>
          <a:prstGeom prst="rect">
            <a:avLst/>
          </a:prstGeom>
          <a:solidFill>
            <a:srgbClr val="3A6286"/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5" name="Szövegdoboz 4"/>
          <p:cNvSpPr txBox="1"/>
          <p:nvPr/>
        </p:nvSpPr>
        <p:spPr>
          <a:xfrm>
            <a:off x="539552" y="6309528"/>
            <a:ext cx="1210578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 smtClean="0"/>
              <a:t>Korábbi SZOCPOL</a:t>
            </a:r>
            <a:endParaRPr lang="hu-HU" sz="1100" b="1" dirty="0"/>
          </a:p>
        </p:txBody>
      </p:sp>
      <p:sp>
        <p:nvSpPr>
          <p:cNvPr id="574" name="Szövegdoboz 573"/>
          <p:cNvSpPr txBox="1"/>
          <p:nvPr/>
        </p:nvSpPr>
        <p:spPr>
          <a:xfrm>
            <a:off x="539552" y="6559461"/>
            <a:ext cx="500448" cy="261606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hu-HU" sz="1100" b="1" dirty="0"/>
              <a:t>CSOK</a:t>
            </a:r>
          </a:p>
        </p:txBody>
      </p:sp>
      <p:cxnSp>
        <p:nvCxnSpPr>
          <p:cNvPr id="576" name="Egyenes összekötő 575"/>
          <p:cNvCxnSpPr/>
          <p:nvPr>
            <p:custDataLst>
              <p:tags r:id="rId11"/>
            </p:custDataLst>
          </p:nvPr>
        </p:nvCxnSpPr>
        <p:spPr bwMode="auto">
          <a:xfrm flipV="1">
            <a:off x="4676775" y="1643063"/>
            <a:ext cx="0" cy="314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77" name="Objektum 576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06811289"/>
              </p:ext>
            </p:extLst>
          </p:nvPr>
        </p:nvGraphicFramePr>
        <p:xfrm>
          <a:off x="3962399" y="152400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" name="Diagram" r:id="rId124" imgW="1381190" imgH="914490" progId="MSGraph.Chart.8">
                  <p:embed followColorScheme="full"/>
                </p:oleObj>
              </mc:Choice>
              <mc:Fallback>
                <p:oleObj name="Diagram" r:id="rId124" imgW="1381190" imgH="9144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3962399" y="1524000"/>
                        <a:ext cx="1381190" cy="914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Egyenes összekötő 22"/>
          <p:cNvCxnSpPr/>
          <p:nvPr>
            <p:custDataLst>
              <p:tags r:id="rId13"/>
            </p:custDataLst>
          </p:nvPr>
        </p:nvCxnSpPr>
        <p:spPr bwMode="auto">
          <a:xfrm>
            <a:off x="4229100" y="1670050"/>
            <a:ext cx="0" cy="101600"/>
          </a:xfrm>
          <a:prstGeom prst="line">
            <a:avLst/>
          </a:prstGeom>
          <a:blipFill dpi="0" rotWithShape="0">
            <a:blip r:embed="rId126"/>
            <a:srcRect/>
            <a:tile tx="0" ty="0" sx="100000" sy="100000" flip="none" algn="tl"/>
          </a:blip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Egyenes összekötő 23"/>
          <p:cNvCxnSpPr/>
          <p:nvPr>
            <p:custDataLst>
              <p:tags r:id="rId14"/>
            </p:custDataLst>
          </p:nvPr>
        </p:nvCxnSpPr>
        <p:spPr bwMode="auto">
          <a:xfrm>
            <a:off x="4529138" y="1622425"/>
            <a:ext cx="0" cy="101600"/>
          </a:xfrm>
          <a:prstGeom prst="line">
            <a:avLst/>
          </a:prstGeom>
          <a:blipFill dpi="0" rotWithShape="0">
            <a:blip r:embed="rId126"/>
            <a:srcRect/>
            <a:tile tx="0" ty="0" sx="100000" sy="100000" flip="none" algn="tl"/>
          </a:blip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8" name="Szöveg helye 5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 flipV="1">
            <a:off x="4452938" y="1230313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hu-HU" sz="1000" b="1" dirty="0" smtClean="0">
                <a:solidFill>
                  <a:srgbClr val="4C4C4C"/>
                </a:solidFill>
                <a:sym typeface="+mn-lt"/>
              </a:rPr>
              <a:t>1,92%</a:t>
            </a:r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579" name="Szöveg helye 5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 flipV="1">
            <a:off x="4152901" y="1277938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fld id="{26221023-B2F5-4EB9-885A-7384397744EF}" type="datetime'''''1'''',''''5''''3''''''%'''''''''''''''">
              <a:rPr lang="en-US" sz="1000" b="1">
                <a:solidFill>
                  <a:srgbClr val="4C4C4C"/>
                </a:solidFill>
                <a:sym typeface="+mn-lt"/>
              </a:rPr>
              <a:pPr marL="0" indent="0">
                <a:buNone/>
              </a:pPr>
              <a:t>1,53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580" name="Egyenes összekötő 579"/>
          <p:cNvCxnSpPr/>
          <p:nvPr>
            <p:custDataLst>
              <p:tags r:id="rId17"/>
            </p:custDataLst>
          </p:nvPr>
        </p:nvCxnSpPr>
        <p:spPr bwMode="auto">
          <a:xfrm flipV="1">
            <a:off x="5819775" y="1728789"/>
            <a:ext cx="0" cy="695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1" name="Objektum 580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058768239"/>
              </p:ext>
            </p:extLst>
          </p:nvPr>
        </p:nvGraphicFramePr>
        <p:xfrm>
          <a:off x="5105400" y="163830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6" name="Diagram" r:id="rId127" imgW="1381190" imgH="914490" progId="MSGraph.Chart.8">
                  <p:embed followColorScheme="full"/>
                </p:oleObj>
              </mc:Choice>
              <mc:Fallback>
                <p:oleObj name="Diagram" r:id="rId127" imgW="1381190" imgH="9144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8"/>
                      <a:stretch>
                        <a:fillRect/>
                      </a:stretch>
                    </p:blipFill>
                    <p:spPr>
                      <a:xfrm>
                        <a:off x="5105400" y="1638300"/>
                        <a:ext cx="1381190" cy="914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" name="Szöveg helye 5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 flipV="1">
            <a:off x="5295901" y="188118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FF2F762E-4AC7-4924-BCF8-BE11A088E486}" type="datetime'''''''3'''''',''''''''''''''''5''''''''8''''''''''%'''">
              <a:rPr lang="en-US" sz="1000" b="1">
                <a:solidFill>
                  <a:srgbClr val="4C4C4C"/>
                </a:solidFill>
                <a:sym typeface="+mn-lt"/>
              </a:rPr>
              <a:pPr marL="0" indent="0" algn="ctr">
                <a:buNone/>
              </a:pPr>
              <a:t>3,58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582" name="Szöveg helye 55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 flipV="1">
            <a:off x="5595938" y="197167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  <a:sym typeface="+mn-lt"/>
              </a:rPr>
              <a:t>2,09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584" name="Egyenes összekötő 583"/>
          <p:cNvCxnSpPr/>
          <p:nvPr>
            <p:custDataLst>
              <p:tags r:id="rId21"/>
            </p:custDataLst>
          </p:nvPr>
        </p:nvCxnSpPr>
        <p:spPr bwMode="auto">
          <a:xfrm flipV="1">
            <a:off x="6715125" y="414339"/>
            <a:ext cx="0" cy="12668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78" name="Szabadkézi sokszög 277"/>
          <p:cNvSpPr/>
          <p:nvPr>
            <p:custDataLst>
              <p:tags r:id="rId22"/>
            </p:custDataLst>
          </p:nvPr>
        </p:nvSpPr>
        <p:spPr bwMode="auto">
          <a:xfrm>
            <a:off x="6042026" y="487364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 useBgFill="1">
        <p:nvSpPr>
          <p:cNvPr id="281" name="Szabadkézi sokszög 280"/>
          <p:cNvSpPr/>
          <p:nvPr>
            <p:custDataLst>
              <p:tags r:id="rId23"/>
            </p:custDataLst>
          </p:nvPr>
        </p:nvSpPr>
        <p:spPr bwMode="auto">
          <a:xfrm>
            <a:off x="6107113" y="465138"/>
            <a:ext cx="314326" cy="141289"/>
          </a:xfrm>
          <a:custGeom>
            <a:avLst/>
            <a:gdLst/>
            <a:ahLst/>
            <a:cxnLst/>
            <a:rect l="0" t="0" r="0" b="0"/>
            <a:pathLst>
              <a:path w="314326" h="141289">
                <a:moveTo>
                  <a:pt x="0" y="84138"/>
                </a:moveTo>
                <a:lnTo>
                  <a:pt x="314325" y="0"/>
                </a:lnTo>
                <a:lnTo>
                  <a:pt x="314325" y="57150"/>
                </a:lnTo>
                <a:lnTo>
                  <a:pt x="0" y="14128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276" name="Szabadkézi sokszög 275"/>
          <p:cNvSpPr/>
          <p:nvPr>
            <p:custDataLst>
              <p:tags r:id="rId24"/>
            </p:custDataLst>
          </p:nvPr>
        </p:nvSpPr>
        <p:spPr bwMode="auto">
          <a:xfrm>
            <a:off x="6042026" y="487364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80" name="Szabadkézi sokszög 279"/>
          <p:cNvSpPr/>
          <p:nvPr>
            <p:custDataLst>
              <p:tags r:id="rId25"/>
            </p:custDataLst>
          </p:nvPr>
        </p:nvSpPr>
        <p:spPr bwMode="auto">
          <a:xfrm>
            <a:off x="6107113" y="522288"/>
            <a:ext cx="314326" cy="84139"/>
          </a:xfrm>
          <a:custGeom>
            <a:avLst/>
            <a:gdLst/>
            <a:ahLst/>
            <a:cxnLst/>
            <a:rect l="0" t="0" r="0" b="0"/>
            <a:pathLst>
              <a:path w="314326" h="84139">
                <a:moveTo>
                  <a:pt x="0" y="84138"/>
                </a:moveTo>
                <a:lnTo>
                  <a:pt x="314325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77" name="Szabadkézi sokszög 276"/>
          <p:cNvSpPr/>
          <p:nvPr>
            <p:custDataLst>
              <p:tags r:id="rId26"/>
            </p:custDataLst>
          </p:nvPr>
        </p:nvSpPr>
        <p:spPr bwMode="auto">
          <a:xfrm>
            <a:off x="6042026" y="544514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79" name="Szabadkézi sokszög 278"/>
          <p:cNvSpPr/>
          <p:nvPr>
            <p:custDataLst>
              <p:tags r:id="rId27"/>
            </p:custDataLst>
          </p:nvPr>
        </p:nvSpPr>
        <p:spPr bwMode="auto">
          <a:xfrm>
            <a:off x="6107113" y="465138"/>
            <a:ext cx="314326" cy="84139"/>
          </a:xfrm>
          <a:custGeom>
            <a:avLst/>
            <a:gdLst/>
            <a:ahLst/>
            <a:cxnLst/>
            <a:rect l="0" t="0" r="0" b="0"/>
            <a:pathLst>
              <a:path w="314326" h="84139">
                <a:moveTo>
                  <a:pt x="0" y="84138"/>
                </a:moveTo>
                <a:lnTo>
                  <a:pt x="314325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587" name="Szöveg helye 5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 flipV="1">
            <a:off x="6191250" y="817564"/>
            <a:ext cx="152400" cy="4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09210CE0-B237-43A2-AC22-9A5877EA0576}" type="datetime'''''1''''''''''''''''''''''''''''6,''''''''''''1''''1''''%'">
              <a:rPr lang="en-US" sz="1000" b="1">
                <a:solidFill>
                  <a:srgbClr val="4C4C4C"/>
                </a:solidFill>
                <a:sym typeface="+mn-lt"/>
              </a:rPr>
              <a:pPr marL="0" indent="0" algn="ctr">
                <a:buNone/>
              </a:pPr>
              <a:t>16,11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586" name="Szöveg helye 5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 flipV="1">
            <a:off x="6491288" y="96678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  <a:sym typeface="+mn-lt"/>
              </a:rPr>
              <a:t>4,24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588" name="Egyenes összekötő 587"/>
          <p:cNvCxnSpPr/>
          <p:nvPr>
            <p:custDataLst>
              <p:tags r:id="rId30"/>
            </p:custDataLst>
          </p:nvPr>
        </p:nvCxnSpPr>
        <p:spPr bwMode="auto">
          <a:xfrm flipV="1">
            <a:off x="8410575" y="614363"/>
            <a:ext cx="0" cy="1276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1" name="Szöveg helye 5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 flipV="1">
            <a:off x="7886700" y="105727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D2B9FC87-624E-4C03-9114-6B5F5F2E8851}" type="datetime'''''''9'''''',''''''''''''''''1''1''''''''%''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9,11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590" name="Szöveg helye 55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 flipV="1">
            <a:off x="8186739" y="119538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6,10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592" name="Egyenes összekötő 591"/>
          <p:cNvCxnSpPr/>
          <p:nvPr>
            <p:custDataLst>
              <p:tags r:id="rId33"/>
            </p:custDataLst>
          </p:nvPr>
        </p:nvCxnSpPr>
        <p:spPr bwMode="auto">
          <a:xfrm flipV="1">
            <a:off x="1162050" y="3433763"/>
            <a:ext cx="0" cy="4762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93" name="Objektum 592"/>
          <p:cNvGraphicFramePr>
            <a:graphicFrameLocks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145111009"/>
              </p:ext>
            </p:extLst>
          </p:nvPr>
        </p:nvGraphicFramePr>
        <p:xfrm>
          <a:off x="495299" y="331470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7" name="Diagram" r:id="rId129" imgW="1381190" imgH="914490" progId="MSGraph.Chart.8">
                  <p:embed followColorScheme="full"/>
                </p:oleObj>
              </mc:Choice>
              <mc:Fallback>
                <p:oleObj name="Diagram" r:id="rId129" imgW="1381190" imgH="9144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0"/>
                      <a:stretch>
                        <a:fillRect/>
                      </a:stretch>
                    </p:blipFill>
                    <p:spPr>
                      <a:xfrm>
                        <a:off x="495299" y="3314700"/>
                        <a:ext cx="1381190" cy="914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Egyenes összekötő 15"/>
          <p:cNvCxnSpPr/>
          <p:nvPr>
            <p:custDataLst>
              <p:tags r:id="rId35"/>
            </p:custDataLst>
          </p:nvPr>
        </p:nvCxnSpPr>
        <p:spPr bwMode="auto">
          <a:xfrm>
            <a:off x="752475" y="3698875"/>
            <a:ext cx="0" cy="101600"/>
          </a:xfrm>
          <a:prstGeom prst="line">
            <a:avLst/>
          </a:prstGeom>
          <a:blipFill dpi="0" rotWithShape="0">
            <a:blip r:embed="rId126"/>
            <a:srcRect/>
            <a:tile tx="0" ty="0" sx="100000" sy="100000" flip="none" algn="tl"/>
          </a:blip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4" name="Szöveg helye 55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 flipV="1">
            <a:off x="947738" y="34766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2,54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95" name="Szöveg helye 5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 flipV="1">
            <a:off x="676275" y="3306763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fld id="{E436266C-1348-47BC-B4B9-17026450A124}" type="datetime'''''''''''0'''''''',''''''''''''93%'''''''">
              <a:rPr lang="en-US" sz="1000" b="1">
                <a:solidFill>
                  <a:srgbClr val="4C4C4C"/>
                </a:solidFill>
              </a:rPr>
              <a:pPr marL="0" indent="0">
                <a:buNone/>
              </a:pPr>
              <a:t>0,93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596" name="Egyenes összekötő 595"/>
          <p:cNvCxnSpPr/>
          <p:nvPr>
            <p:custDataLst>
              <p:tags r:id="rId38"/>
            </p:custDataLst>
          </p:nvPr>
        </p:nvCxnSpPr>
        <p:spPr bwMode="auto">
          <a:xfrm flipV="1">
            <a:off x="2276475" y="3213048"/>
            <a:ext cx="0" cy="6480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Egyenes összekötő 599"/>
          <p:cNvCxnSpPr/>
          <p:nvPr>
            <p:custDataLst>
              <p:tags r:id="rId39"/>
            </p:custDataLst>
          </p:nvPr>
        </p:nvCxnSpPr>
        <p:spPr bwMode="auto">
          <a:xfrm flipV="1">
            <a:off x="3543300" y="3081338"/>
            <a:ext cx="0" cy="9144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01" name="Objektum 600"/>
          <p:cNvGraphicFramePr>
            <a:graphicFrameLocks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306083714"/>
              </p:ext>
            </p:extLst>
          </p:nvPr>
        </p:nvGraphicFramePr>
        <p:xfrm>
          <a:off x="2857500" y="2971800"/>
          <a:ext cx="1381190" cy="1114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8" name="Diagram" r:id="rId131" imgW="1381190" imgH="1114560" progId="MSGraph.Chart.8">
                  <p:embed followColorScheme="full"/>
                </p:oleObj>
              </mc:Choice>
              <mc:Fallback>
                <p:oleObj name="Diagram" r:id="rId131" imgW="1381190" imgH="11145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2"/>
                      <a:stretch>
                        <a:fillRect/>
                      </a:stretch>
                    </p:blipFill>
                    <p:spPr>
                      <a:xfrm>
                        <a:off x="2857500" y="2971800"/>
                        <a:ext cx="1381190" cy="11145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3" name="Szöveg helye 5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 flipV="1">
            <a:off x="3048000" y="334327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14E856FD-34A3-46D9-8615-430485FEE771}" type="datetime'''''''''''4'''''''''''''''',''''''3''''''9''''''''''%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4,39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02" name="Szöveg helye 55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 flipV="1">
            <a:off x="3328989" y="345757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3,95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604" name="Egyenes összekötő 603"/>
          <p:cNvCxnSpPr/>
          <p:nvPr>
            <p:custDataLst>
              <p:tags r:id="rId43"/>
            </p:custDataLst>
          </p:nvPr>
        </p:nvCxnSpPr>
        <p:spPr bwMode="auto">
          <a:xfrm flipV="1">
            <a:off x="4486275" y="2243138"/>
            <a:ext cx="0" cy="13144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05" name="Objektum 604"/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590013018"/>
              </p:ext>
            </p:extLst>
          </p:nvPr>
        </p:nvGraphicFramePr>
        <p:xfrm>
          <a:off x="3809999" y="2133600"/>
          <a:ext cx="1393826" cy="15238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9" name="Diagram" r:id="rId133" imgW="1381190" imgH="1523880" progId="MSGraph.Chart.8">
                  <p:embed followColorScheme="full"/>
                </p:oleObj>
              </mc:Choice>
              <mc:Fallback>
                <p:oleObj name="Diagram" r:id="rId133" imgW="1381190" imgH="15238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4"/>
                      <a:stretch>
                        <a:fillRect/>
                      </a:stretch>
                    </p:blipFill>
                    <p:spPr>
                      <a:xfrm>
                        <a:off x="3809999" y="2133600"/>
                        <a:ext cx="1393826" cy="15238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4" name="Szabadkézi sokszög 283"/>
          <p:cNvSpPr/>
          <p:nvPr>
            <p:custDataLst>
              <p:tags r:id="rId45"/>
            </p:custDataLst>
          </p:nvPr>
        </p:nvSpPr>
        <p:spPr bwMode="auto">
          <a:xfrm>
            <a:off x="3851276" y="25368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 useBgFill="1">
        <p:nvSpPr>
          <p:cNvPr id="664" name="Szabadkézi sokszög 663"/>
          <p:cNvSpPr/>
          <p:nvPr>
            <p:custDataLst>
              <p:tags r:id="rId46"/>
            </p:custDataLst>
          </p:nvPr>
        </p:nvSpPr>
        <p:spPr bwMode="auto">
          <a:xfrm>
            <a:off x="4189414" y="2516188"/>
            <a:ext cx="298451" cy="138114"/>
          </a:xfrm>
          <a:custGeom>
            <a:avLst/>
            <a:gdLst/>
            <a:ahLst/>
            <a:cxnLst/>
            <a:rect l="0" t="0" r="0" b="0"/>
            <a:pathLst>
              <a:path w="298451" h="138114">
                <a:moveTo>
                  <a:pt x="0" y="80963"/>
                </a:moveTo>
                <a:lnTo>
                  <a:pt x="298450" y="0"/>
                </a:lnTo>
                <a:lnTo>
                  <a:pt x="298450" y="57150"/>
                </a:lnTo>
                <a:lnTo>
                  <a:pt x="0" y="138113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286" name="Szabadkézi sokszög 285"/>
          <p:cNvSpPr/>
          <p:nvPr>
            <p:custDataLst>
              <p:tags r:id="rId47"/>
            </p:custDataLst>
          </p:nvPr>
        </p:nvSpPr>
        <p:spPr bwMode="auto">
          <a:xfrm>
            <a:off x="4189414" y="2573338"/>
            <a:ext cx="298451" cy="80964"/>
          </a:xfrm>
          <a:custGeom>
            <a:avLst/>
            <a:gdLst/>
            <a:ahLst/>
            <a:cxnLst/>
            <a:rect l="0" t="0" r="0" b="0"/>
            <a:pathLst>
              <a:path w="298451" h="80964">
                <a:moveTo>
                  <a:pt x="0" y="80963"/>
                </a:moveTo>
                <a:lnTo>
                  <a:pt x="2984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85" name="Szabadkézi sokszög 284"/>
          <p:cNvSpPr/>
          <p:nvPr>
            <p:custDataLst>
              <p:tags r:id="rId48"/>
            </p:custDataLst>
          </p:nvPr>
        </p:nvSpPr>
        <p:spPr bwMode="auto">
          <a:xfrm>
            <a:off x="4189414" y="2516188"/>
            <a:ext cx="298451" cy="80964"/>
          </a:xfrm>
          <a:custGeom>
            <a:avLst/>
            <a:gdLst/>
            <a:ahLst/>
            <a:cxnLst/>
            <a:rect l="0" t="0" r="0" b="0"/>
            <a:pathLst>
              <a:path w="298451" h="80964">
                <a:moveTo>
                  <a:pt x="0" y="80963"/>
                </a:moveTo>
                <a:lnTo>
                  <a:pt x="2984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82" name="Szabadkézi sokszög 281"/>
          <p:cNvSpPr/>
          <p:nvPr>
            <p:custDataLst>
              <p:tags r:id="rId49"/>
            </p:custDataLst>
          </p:nvPr>
        </p:nvSpPr>
        <p:spPr bwMode="auto">
          <a:xfrm>
            <a:off x="3851276" y="25368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83" name="Szabadkézi sokszög 282"/>
          <p:cNvSpPr/>
          <p:nvPr>
            <p:custDataLst>
              <p:tags r:id="rId50"/>
            </p:custDataLst>
          </p:nvPr>
        </p:nvSpPr>
        <p:spPr bwMode="auto">
          <a:xfrm>
            <a:off x="3851276" y="25939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606" name="Szöveg helye 55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 flipV="1">
            <a:off x="4271964" y="2689225"/>
            <a:ext cx="152400" cy="4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14,69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07" name="Szöveg helye 53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 flipV="1">
            <a:off x="3990975" y="3038475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EB90AA2A-840E-4BD5-A1A1-0491875C068D}" type="datetime'3'''''''',1''''6''''''''''''''%''''''''''''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3,16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608" name="Egyenes összekötő 607"/>
          <p:cNvCxnSpPr/>
          <p:nvPr>
            <p:custDataLst>
              <p:tags r:id="rId53"/>
            </p:custDataLst>
          </p:nvPr>
        </p:nvCxnSpPr>
        <p:spPr bwMode="auto">
          <a:xfrm flipV="1">
            <a:off x="6438900" y="2395538"/>
            <a:ext cx="0" cy="12954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09" name="Objektum 608"/>
          <p:cNvGraphicFramePr>
            <a:graphicFrameLocks/>
          </p:cNvGraphicFramePr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470993271"/>
              </p:ext>
            </p:extLst>
          </p:nvPr>
        </p:nvGraphicFramePr>
        <p:xfrm>
          <a:off x="5715000" y="2286000"/>
          <a:ext cx="1381190" cy="1495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0" name="Diagram" r:id="rId135" imgW="1381190" imgH="1495530" progId="MSGraph.Chart.8">
                  <p:embed followColorScheme="full"/>
                </p:oleObj>
              </mc:Choice>
              <mc:Fallback>
                <p:oleObj name="Diagram" r:id="rId135" imgW="1381190" imgH="14955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6"/>
                      <a:stretch>
                        <a:fillRect/>
                      </a:stretch>
                    </p:blipFill>
                    <p:spPr>
                      <a:xfrm>
                        <a:off x="5715000" y="2286000"/>
                        <a:ext cx="1381190" cy="14955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72" name="Szabadkézi sokszög 271"/>
          <p:cNvSpPr/>
          <p:nvPr>
            <p:custDataLst>
              <p:tags r:id="rId55"/>
            </p:custDataLst>
          </p:nvPr>
        </p:nvSpPr>
        <p:spPr bwMode="auto">
          <a:xfrm>
            <a:off x="5770564" y="2451101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 useBgFill="1">
        <p:nvSpPr>
          <p:cNvPr id="275" name="Szabadkézi sokszög 274"/>
          <p:cNvSpPr/>
          <p:nvPr>
            <p:custDataLst>
              <p:tags r:id="rId56"/>
            </p:custDataLst>
          </p:nvPr>
        </p:nvSpPr>
        <p:spPr bwMode="auto">
          <a:xfrm>
            <a:off x="5835650" y="2428876"/>
            <a:ext cx="314326" cy="141289"/>
          </a:xfrm>
          <a:custGeom>
            <a:avLst/>
            <a:gdLst/>
            <a:ahLst/>
            <a:cxnLst/>
            <a:rect l="0" t="0" r="0" b="0"/>
            <a:pathLst>
              <a:path w="314326" h="141289">
                <a:moveTo>
                  <a:pt x="0" y="84138"/>
                </a:moveTo>
                <a:lnTo>
                  <a:pt x="314325" y="0"/>
                </a:lnTo>
                <a:lnTo>
                  <a:pt x="314325" y="57150"/>
                </a:lnTo>
                <a:lnTo>
                  <a:pt x="0" y="14128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271" name="Szabadkézi sokszög 270"/>
          <p:cNvSpPr/>
          <p:nvPr>
            <p:custDataLst>
              <p:tags r:id="rId57"/>
            </p:custDataLst>
          </p:nvPr>
        </p:nvSpPr>
        <p:spPr bwMode="auto">
          <a:xfrm>
            <a:off x="5770564" y="250825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70" name="Szabadkézi sokszög 269"/>
          <p:cNvSpPr/>
          <p:nvPr>
            <p:custDataLst>
              <p:tags r:id="rId58"/>
            </p:custDataLst>
          </p:nvPr>
        </p:nvSpPr>
        <p:spPr bwMode="auto">
          <a:xfrm>
            <a:off x="5770564" y="245110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73" name="Szabadkézi sokszög 272"/>
          <p:cNvSpPr/>
          <p:nvPr>
            <p:custDataLst>
              <p:tags r:id="rId59"/>
            </p:custDataLst>
          </p:nvPr>
        </p:nvSpPr>
        <p:spPr bwMode="auto">
          <a:xfrm>
            <a:off x="5835650" y="2428876"/>
            <a:ext cx="314326" cy="84139"/>
          </a:xfrm>
          <a:custGeom>
            <a:avLst/>
            <a:gdLst/>
            <a:ahLst/>
            <a:cxnLst/>
            <a:rect l="0" t="0" r="0" b="0"/>
            <a:pathLst>
              <a:path w="314326" h="84139">
                <a:moveTo>
                  <a:pt x="0" y="84138"/>
                </a:moveTo>
                <a:lnTo>
                  <a:pt x="314325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274" name="Szabadkézi sokszög 273"/>
          <p:cNvSpPr/>
          <p:nvPr>
            <p:custDataLst>
              <p:tags r:id="rId60"/>
            </p:custDataLst>
          </p:nvPr>
        </p:nvSpPr>
        <p:spPr bwMode="auto">
          <a:xfrm>
            <a:off x="5835650" y="2486026"/>
            <a:ext cx="314326" cy="84139"/>
          </a:xfrm>
          <a:custGeom>
            <a:avLst/>
            <a:gdLst/>
            <a:ahLst/>
            <a:cxnLst/>
            <a:rect l="0" t="0" r="0" b="0"/>
            <a:pathLst>
              <a:path w="314326" h="84139">
                <a:moveTo>
                  <a:pt x="0" y="84138"/>
                </a:moveTo>
                <a:lnTo>
                  <a:pt x="314325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610" name="Szöveg helye 55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 flipV="1">
            <a:off x="6215064" y="29432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4,52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11" name="Szöveg helye 53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 flipV="1">
            <a:off x="5915025" y="284797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21F6552A-8A47-418D-B457-75E15599B51A}" type="datetime'''''''''''''''''7'''''''',''''''''8''2''''''''''''''%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7,82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616" name="Egyenes összekötő 615"/>
          <p:cNvCxnSpPr/>
          <p:nvPr>
            <p:custDataLst>
              <p:tags r:id="rId63"/>
            </p:custDataLst>
          </p:nvPr>
        </p:nvCxnSpPr>
        <p:spPr bwMode="auto">
          <a:xfrm flipV="1">
            <a:off x="6896100" y="3919539"/>
            <a:ext cx="0" cy="1114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7" name="Objektum 616"/>
          <p:cNvGraphicFramePr>
            <a:graphicFrameLocks/>
          </p:cNvGraphicFramePr>
          <p:nvPr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30296187"/>
              </p:ext>
            </p:extLst>
          </p:nvPr>
        </p:nvGraphicFramePr>
        <p:xfrm>
          <a:off x="6172200" y="3810000"/>
          <a:ext cx="1381190" cy="1324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1" name="Diagram" r:id="rId137" imgW="1381190" imgH="1324080" progId="MSGraph.Chart.8">
                  <p:embed followColorScheme="full"/>
                </p:oleObj>
              </mc:Choice>
              <mc:Fallback>
                <p:oleObj name="Diagram" r:id="rId137" imgW="1381190" imgH="13240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8"/>
                      <a:stretch>
                        <a:fillRect/>
                      </a:stretch>
                    </p:blipFill>
                    <p:spPr>
                      <a:xfrm>
                        <a:off x="6172200" y="3810000"/>
                        <a:ext cx="1381190" cy="1324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8" name="Szöveg helye 55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 flipV="1">
            <a:off x="6672264" y="4476751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3,84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19" name="Szöveg helye 53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 flipV="1">
            <a:off x="6372225" y="428148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D98DF2CF-D32C-4CD2-A77C-D2E5B8BAD85D}" type="datetime'''''''6'''''''''''''''',9''''''''''''''''''''7''''''''''''''%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6,97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620" name="Egyenes összekötő 619"/>
          <p:cNvCxnSpPr/>
          <p:nvPr>
            <p:custDataLst>
              <p:tags r:id="rId67"/>
            </p:custDataLst>
          </p:nvPr>
        </p:nvCxnSpPr>
        <p:spPr bwMode="auto">
          <a:xfrm flipV="1">
            <a:off x="7296150" y="2147888"/>
            <a:ext cx="0" cy="12954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3" name="Szöveg helye 55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 flipV="1">
            <a:off x="7062788" y="2652714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6,84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625" name="Objektum 624"/>
          <p:cNvGraphicFramePr>
            <a:graphicFrameLocks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778189472"/>
              </p:ext>
            </p:extLst>
          </p:nvPr>
        </p:nvGraphicFramePr>
        <p:xfrm>
          <a:off x="5181599" y="4152900"/>
          <a:ext cx="1385889" cy="15049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2" name="Diagram" r:id="rId139" imgW="1381190" imgH="1504980" progId="MSGraph.Chart.8">
                  <p:embed followColorScheme="full"/>
                </p:oleObj>
              </mc:Choice>
              <mc:Fallback>
                <p:oleObj name="Diagram" r:id="rId139" imgW="1381190" imgH="15049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0"/>
                      <a:stretch>
                        <a:fillRect/>
                      </a:stretch>
                    </p:blipFill>
                    <p:spPr>
                      <a:xfrm>
                        <a:off x="5181599" y="4152900"/>
                        <a:ext cx="1385889" cy="15049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2" name="Szöveg helye 53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 flipV="1">
            <a:off x="6757989" y="26003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95C7F05B-B0BB-4F4B-BE08-07C31E9B8E23}" type="datetime'''7'''''''''',''''''''''''''''4''''''''''''''9''''''''''''%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7,49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624" name="Egyenes összekötő 623"/>
          <p:cNvCxnSpPr/>
          <p:nvPr>
            <p:custDataLst>
              <p:tags r:id="rId71"/>
            </p:custDataLst>
          </p:nvPr>
        </p:nvCxnSpPr>
        <p:spPr bwMode="auto">
          <a:xfrm flipV="1">
            <a:off x="5895975" y="4271964"/>
            <a:ext cx="0" cy="12954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6" name="Szöveg helye 55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 flipV="1">
            <a:off x="5672139" y="4724400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4,52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27" name="Szöveg helye 53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 flipV="1">
            <a:off x="5372100" y="49625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8FDF8356-8C8B-4093-A380-CD052DB00D2E}" type="datetime'''''''''''''''''3'''''''',''''''4''''6''''''''''''''%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3,46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632" name="Egyenes összekötő 631"/>
          <p:cNvCxnSpPr/>
          <p:nvPr>
            <p:custDataLst>
              <p:tags r:id="rId74"/>
            </p:custDataLst>
          </p:nvPr>
        </p:nvCxnSpPr>
        <p:spPr bwMode="auto">
          <a:xfrm flipV="1">
            <a:off x="4657725" y="3995739"/>
            <a:ext cx="0" cy="1276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33" name="Objektum 632"/>
          <p:cNvGraphicFramePr>
            <a:graphicFrameLocks/>
          </p:cNvGraphicFramePr>
          <p:nvPr>
            <p:custDataLst>
              <p:tags r:id="rId75"/>
            </p:custDataLst>
            <p:extLst>
              <p:ext uri="{D42A27DB-BD31-4B8C-83A1-F6EECF244321}">
                <p14:modId xmlns:p14="http://schemas.microsoft.com/office/powerpoint/2010/main" val="3879457840"/>
              </p:ext>
            </p:extLst>
          </p:nvPr>
        </p:nvGraphicFramePr>
        <p:xfrm>
          <a:off x="3924299" y="3886200"/>
          <a:ext cx="1381190" cy="1485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3" name="Diagram" r:id="rId141" imgW="1381190" imgH="1485810" progId="MSGraph.Chart.8">
                  <p:embed followColorScheme="full"/>
                </p:oleObj>
              </mc:Choice>
              <mc:Fallback>
                <p:oleObj name="Diagram" r:id="rId141" imgW="1381190" imgH="14858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3924299" y="3886200"/>
                        <a:ext cx="1381190" cy="14858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634" name="Szabadkézi sokszög 633"/>
          <p:cNvSpPr/>
          <p:nvPr>
            <p:custDataLst>
              <p:tags r:id="rId76"/>
            </p:custDataLst>
          </p:nvPr>
        </p:nvSpPr>
        <p:spPr bwMode="auto">
          <a:xfrm>
            <a:off x="3984626" y="4044951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 useBgFill="1">
        <p:nvSpPr>
          <p:cNvPr id="635" name="Szabadkézi sokszög 634"/>
          <p:cNvSpPr/>
          <p:nvPr>
            <p:custDataLst>
              <p:tags r:id="rId77"/>
            </p:custDataLst>
          </p:nvPr>
        </p:nvSpPr>
        <p:spPr bwMode="auto">
          <a:xfrm>
            <a:off x="4049713" y="4022726"/>
            <a:ext cx="314326" cy="141289"/>
          </a:xfrm>
          <a:custGeom>
            <a:avLst/>
            <a:gdLst/>
            <a:ahLst/>
            <a:cxnLst/>
            <a:rect l="0" t="0" r="0" b="0"/>
            <a:pathLst>
              <a:path w="314326" h="141289">
                <a:moveTo>
                  <a:pt x="0" y="84138"/>
                </a:moveTo>
                <a:lnTo>
                  <a:pt x="314325" y="0"/>
                </a:lnTo>
                <a:lnTo>
                  <a:pt x="314325" y="57150"/>
                </a:lnTo>
                <a:lnTo>
                  <a:pt x="0" y="14128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lt1">
                    <a:hueOff val="0"/>
                    <a:satOff val="0"/>
                    <a:lumOff val="0"/>
                    <a:alphaOff val="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36" name="Szabadkézi sokszög 635"/>
          <p:cNvSpPr/>
          <p:nvPr>
            <p:custDataLst>
              <p:tags r:id="rId78"/>
            </p:custDataLst>
          </p:nvPr>
        </p:nvSpPr>
        <p:spPr bwMode="auto">
          <a:xfrm>
            <a:off x="3984626" y="410210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639" name="Szabadkézi sokszög 638"/>
          <p:cNvSpPr/>
          <p:nvPr>
            <p:custDataLst>
              <p:tags r:id="rId79"/>
            </p:custDataLst>
          </p:nvPr>
        </p:nvSpPr>
        <p:spPr bwMode="auto">
          <a:xfrm>
            <a:off x="4049713" y="4079876"/>
            <a:ext cx="314326" cy="84139"/>
          </a:xfrm>
          <a:custGeom>
            <a:avLst/>
            <a:gdLst/>
            <a:ahLst/>
            <a:cxnLst/>
            <a:rect l="0" t="0" r="0" b="0"/>
            <a:pathLst>
              <a:path w="314326" h="84139">
                <a:moveTo>
                  <a:pt x="0" y="84138"/>
                </a:moveTo>
                <a:lnTo>
                  <a:pt x="314325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638" name="Szabadkézi sokszög 637"/>
          <p:cNvSpPr/>
          <p:nvPr>
            <p:custDataLst>
              <p:tags r:id="rId80"/>
            </p:custDataLst>
          </p:nvPr>
        </p:nvSpPr>
        <p:spPr bwMode="auto">
          <a:xfrm>
            <a:off x="4049713" y="4022726"/>
            <a:ext cx="314326" cy="84139"/>
          </a:xfrm>
          <a:custGeom>
            <a:avLst/>
            <a:gdLst/>
            <a:ahLst/>
            <a:cxnLst/>
            <a:rect l="0" t="0" r="0" b="0"/>
            <a:pathLst>
              <a:path w="314326" h="84139">
                <a:moveTo>
                  <a:pt x="0" y="84138"/>
                </a:moveTo>
                <a:lnTo>
                  <a:pt x="314325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637" name="Szabadkézi sokszög 636"/>
          <p:cNvSpPr/>
          <p:nvPr>
            <p:custDataLst>
              <p:tags r:id="rId81"/>
            </p:custDataLst>
          </p:nvPr>
        </p:nvSpPr>
        <p:spPr bwMode="auto">
          <a:xfrm>
            <a:off x="3984626" y="404495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blipFill dpi="0" rotWithShape="0">
            <a:blip r:embed="rId126"/>
            <a:srcRect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5" tIns="45718" rIns="91435" bIns="45718" numCol="1" rtlCol="0" anchor="t" anchorCtr="0" compatLnSpc="1">
            <a:prstTxWarp prst="textNoShape">
              <a:avLst/>
            </a:prstTxWarp>
          </a:bodyPr>
          <a:lstStyle/>
          <a:p>
            <a:pPr defTabSz="914353"/>
            <a:endParaRPr lang="hu-HU" sz="1200"/>
          </a:p>
        </p:txBody>
      </p:sp>
      <p:sp>
        <p:nvSpPr>
          <p:cNvPr id="640" name="Szöveg helye 55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 flipV="1">
            <a:off x="4433888" y="4533901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4,69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41" name="Szöveg helye 53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 flipV="1">
            <a:off x="4133850" y="4438650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1287CBF9-9031-4DAE-A56F-A731BFB4F8DD}" type="datetime'''''''7'''''''''''',''''''''''''37''''''''''%''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7,37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cxnSp>
        <p:nvCxnSpPr>
          <p:cNvPr id="642" name="Egyenes összekötő 641"/>
          <p:cNvCxnSpPr/>
          <p:nvPr>
            <p:custDataLst>
              <p:tags r:id="rId84"/>
            </p:custDataLst>
          </p:nvPr>
        </p:nvCxnSpPr>
        <p:spPr bwMode="auto">
          <a:xfrm flipV="1">
            <a:off x="3635896" y="4653136"/>
            <a:ext cx="0" cy="6480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6" name="Egyenes összekötő 645"/>
          <p:cNvCxnSpPr/>
          <p:nvPr>
            <p:custDataLst>
              <p:tags r:id="rId85"/>
            </p:custDataLst>
          </p:nvPr>
        </p:nvCxnSpPr>
        <p:spPr bwMode="auto">
          <a:xfrm flipV="1">
            <a:off x="2943225" y="5224464"/>
            <a:ext cx="0" cy="11906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7" name="Objektum 646"/>
          <p:cNvGraphicFramePr>
            <a:graphicFrameLocks/>
          </p:cNvGraphicFramePr>
          <p:nvPr>
            <p:custDataLst>
              <p:tags r:id="rId86"/>
            </p:custDataLst>
            <p:extLst>
              <p:ext uri="{D42A27DB-BD31-4B8C-83A1-F6EECF244321}">
                <p14:modId xmlns:p14="http://schemas.microsoft.com/office/powerpoint/2010/main" val="912360479"/>
              </p:ext>
            </p:extLst>
          </p:nvPr>
        </p:nvGraphicFramePr>
        <p:xfrm>
          <a:off x="2209801" y="5105400"/>
          <a:ext cx="1381190" cy="1409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4" name="Diagram" r:id="rId143" imgW="1381190" imgH="1409670" progId="MSGraph.Chart.8">
                  <p:embed followColorScheme="full"/>
                </p:oleObj>
              </mc:Choice>
              <mc:Fallback>
                <p:oleObj name="Diagram" r:id="rId143" imgW="1381190" imgH="14096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4"/>
                      <a:stretch>
                        <a:fillRect/>
                      </a:stretch>
                    </p:blipFill>
                    <p:spPr>
                      <a:xfrm>
                        <a:off x="2209801" y="5105400"/>
                        <a:ext cx="1381190" cy="1409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9" name="Szöveg helye 53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 flipV="1">
            <a:off x="2405063" y="5795964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12D422C1-4096-42B6-8C57-DB4ADA3A6268}" type="datetime'''''''''''''4,''''''''''''''3''8''''''''''''''%''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4,38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48" name="Szöveg helye 55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 flipV="1">
            <a:off x="2709863" y="5624514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5,20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651" name="Objektum 650"/>
          <p:cNvGraphicFramePr>
            <a:graphicFrameLocks/>
          </p:cNvGraphicFramePr>
          <p:nvPr>
            <p:custDataLst>
              <p:tags r:id="rId89"/>
            </p:custDataLst>
            <p:extLst>
              <p:ext uri="{D42A27DB-BD31-4B8C-83A1-F6EECF244321}">
                <p14:modId xmlns:p14="http://schemas.microsoft.com/office/powerpoint/2010/main" val="1199415545"/>
              </p:ext>
            </p:extLst>
          </p:nvPr>
        </p:nvGraphicFramePr>
        <p:xfrm>
          <a:off x="1600665" y="3140968"/>
          <a:ext cx="1381190" cy="7875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5" name="Diagram" r:id="rId145" imgW="1381190" imgH="1076220" progId="MSGraph.Chart.8">
                  <p:embed followColorScheme="full"/>
                </p:oleObj>
              </mc:Choice>
              <mc:Fallback>
                <p:oleObj name="Diagram" r:id="rId145" imgW="1381190" imgH="10762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1600665" y="3140968"/>
                        <a:ext cx="1381190" cy="7875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50" name="Egyenes összekötő 649"/>
          <p:cNvCxnSpPr/>
          <p:nvPr>
            <p:custDataLst>
              <p:tags r:id="rId90"/>
            </p:custDataLst>
          </p:nvPr>
        </p:nvCxnSpPr>
        <p:spPr bwMode="auto">
          <a:xfrm flipV="1">
            <a:off x="2124075" y="4729163"/>
            <a:ext cx="0" cy="8572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4" name="Egyenes összekötő 653"/>
          <p:cNvCxnSpPr/>
          <p:nvPr>
            <p:custDataLst>
              <p:tags r:id="rId91"/>
            </p:custDataLst>
          </p:nvPr>
        </p:nvCxnSpPr>
        <p:spPr bwMode="auto">
          <a:xfrm flipV="1">
            <a:off x="1295400" y="4338638"/>
            <a:ext cx="0" cy="5715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55" name="Objektum 654"/>
          <p:cNvGraphicFramePr>
            <a:graphicFrameLocks/>
          </p:cNvGraphicFramePr>
          <p:nvPr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2164915771"/>
              </p:ext>
            </p:extLst>
          </p:nvPr>
        </p:nvGraphicFramePr>
        <p:xfrm>
          <a:off x="571500" y="422910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6" name="Diagram" r:id="rId147" imgW="1381190" imgH="914490" progId="MSGraph.Chart.8">
                  <p:embed followColorScheme="full"/>
                </p:oleObj>
              </mc:Choice>
              <mc:Fallback>
                <p:oleObj name="Diagram" r:id="rId147" imgW="1381190" imgH="9144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8"/>
                      <a:stretch>
                        <a:fillRect/>
                      </a:stretch>
                    </p:blipFill>
                    <p:spPr>
                      <a:xfrm>
                        <a:off x="571500" y="4229100"/>
                        <a:ext cx="1381190" cy="914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56" name="Egyenes összekötő 655"/>
          <p:cNvCxnSpPr/>
          <p:nvPr>
            <p:custDataLst>
              <p:tags r:id="rId93"/>
            </p:custDataLst>
          </p:nvPr>
        </p:nvCxnSpPr>
        <p:spPr bwMode="auto">
          <a:xfrm>
            <a:off x="847725" y="4603750"/>
            <a:ext cx="0" cy="101600"/>
          </a:xfrm>
          <a:prstGeom prst="line">
            <a:avLst/>
          </a:prstGeom>
          <a:blipFill dpi="0" rotWithShape="0">
            <a:blip r:embed="rId126"/>
            <a:srcRect/>
            <a:tile tx="0" ty="0" sx="100000" sy="100000" flip="none" algn="tl"/>
          </a:blip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9" name="Szöveg helye 53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 flipV="1">
            <a:off x="771525" y="421163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fld id="{D2404C47-1A1A-4E31-A6D8-1FC60C4E0396}" type="datetime'''1'''',4''''''''''''9''''''''''''%'''''''''''">
              <a:rPr lang="en-US" sz="1000" b="1">
                <a:solidFill>
                  <a:srgbClr val="4C4C4C"/>
                </a:solidFill>
              </a:rPr>
              <a:pPr marL="0" indent="0">
                <a:buNone/>
              </a:pPr>
              <a:t>1,49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58" name="Szöveg helye 55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 flipV="1">
            <a:off x="1071564" y="44291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3,56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660" name="Egyenes összekötő 659"/>
          <p:cNvCxnSpPr/>
          <p:nvPr>
            <p:custDataLst>
              <p:tags r:id="rId96"/>
            </p:custDataLst>
          </p:nvPr>
        </p:nvCxnSpPr>
        <p:spPr bwMode="auto">
          <a:xfrm flipV="1">
            <a:off x="8210550" y="4376739"/>
            <a:ext cx="0" cy="1304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1" name="Objektum 660"/>
          <p:cNvGraphicFramePr>
            <a:graphicFrameLocks/>
          </p:cNvGraphicFramePr>
          <p:nvPr>
            <p:custDataLst>
              <p:tags r:id="rId97"/>
            </p:custDataLst>
            <p:extLst>
              <p:ext uri="{D42A27DB-BD31-4B8C-83A1-F6EECF244321}">
                <p14:modId xmlns:p14="http://schemas.microsoft.com/office/powerpoint/2010/main" val="450176505"/>
              </p:ext>
            </p:extLst>
          </p:nvPr>
        </p:nvGraphicFramePr>
        <p:xfrm>
          <a:off x="7505699" y="4267200"/>
          <a:ext cx="1381190" cy="1514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7" name="Diagram" r:id="rId149" imgW="1381190" imgH="1514430" progId="MSGraph.Chart.8">
                  <p:embed followColorScheme="full"/>
                </p:oleObj>
              </mc:Choice>
              <mc:Fallback>
                <p:oleObj name="Diagram" r:id="rId149" imgW="1381190" imgH="15144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0"/>
                      <a:stretch>
                        <a:fillRect/>
                      </a:stretch>
                    </p:blipFill>
                    <p:spPr>
                      <a:xfrm>
                        <a:off x="7505699" y="4267200"/>
                        <a:ext cx="1381190" cy="15144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2" name="Szöveg helye 53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 flipV="1">
            <a:off x="7672389" y="513397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EABF3B2C-3F37-4F8C-83FB-F974A523FFA1}" type="datetime'''''''''4,''''''''''''4''''2''''%''''''''''''''''''''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4,42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63" name="Szöveg helye 55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 flipV="1">
            <a:off x="7977188" y="483393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10,17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5" name="Háromszög 664"/>
          <p:cNvSpPr/>
          <p:nvPr/>
        </p:nvSpPr>
        <p:spPr>
          <a:xfrm>
            <a:off x="1885951" y="2211389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67" name="Háromszög 666"/>
          <p:cNvSpPr/>
          <p:nvPr/>
        </p:nvSpPr>
        <p:spPr>
          <a:xfrm>
            <a:off x="714375" y="3049139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68" name="Háromszög 667"/>
          <p:cNvSpPr/>
          <p:nvPr/>
        </p:nvSpPr>
        <p:spPr>
          <a:xfrm>
            <a:off x="1113748" y="3849688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69" name="Háromszög 668"/>
          <p:cNvSpPr/>
          <p:nvPr/>
        </p:nvSpPr>
        <p:spPr>
          <a:xfrm>
            <a:off x="3083720" y="5580858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1" name="Háromszög 670"/>
          <p:cNvSpPr/>
          <p:nvPr/>
        </p:nvSpPr>
        <p:spPr>
          <a:xfrm>
            <a:off x="4688731" y="3029745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2" name="Háromszög 671"/>
          <p:cNvSpPr/>
          <p:nvPr/>
        </p:nvSpPr>
        <p:spPr>
          <a:xfrm>
            <a:off x="4745137" y="1620839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4" name="Háromszög 673"/>
          <p:cNvSpPr/>
          <p:nvPr/>
        </p:nvSpPr>
        <p:spPr>
          <a:xfrm>
            <a:off x="7723145" y="4000105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5" name="Háromszög 674"/>
          <p:cNvSpPr/>
          <p:nvPr/>
        </p:nvSpPr>
        <p:spPr>
          <a:xfrm>
            <a:off x="4900060" y="5209339"/>
            <a:ext cx="357188" cy="327818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6" name="Háromszög 675"/>
          <p:cNvSpPr/>
          <p:nvPr/>
        </p:nvSpPr>
        <p:spPr>
          <a:xfrm rot="10800000">
            <a:off x="2700337" y="1336675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7" name="Háromszög 676"/>
          <p:cNvSpPr/>
          <p:nvPr/>
        </p:nvSpPr>
        <p:spPr>
          <a:xfrm rot="10800000">
            <a:off x="6260306" y="86520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78" name="Háromszög 677"/>
          <p:cNvSpPr/>
          <p:nvPr/>
        </p:nvSpPr>
        <p:spPr>
          <a:xfrm rot="10800000">
            <a:off x="7955756" y="323454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80" name="Háromszög 679"/>
          <p:cNvSpPr/>
          <p:nvPr/>
        </p:nvSpPr>
        <p:spPr>
          <a:xfrm rot="10800000">
            <a:off x="5413375" y="3246439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81" name="Háromszög 680"/>
          <p:cNvSpPr/>
          <p:nvPr/>
        </p:nvSpPr>
        <p:spPr>
          <a:xfrm rot="10800000">
            <a:off x="4157664" y="5460604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82" name="Háromszög 681"/>
          <p:cNvSpPr/>
          <p:nvPr/>
        </p:nvSpPr>
        <p:spPr>
          <a:xfrm rot="10800000">
            <a:off x="3186112" y="2967832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83" name="Háromszög 682"/>
          <p:cNvSpPr/>
          <p:nvPr/>
        </p:nvSpPr>
        <p:spPr>
          <a:xfrm rot="10800000">
            <a:off x="6486332" y="3698875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684" name="Háromszög 683"/>
          <p:cNvSpPr/>
          <p:nvPr/>
        </p:nvSpPr>
        <p:spPr>
          <a:xfrm rot="10800000">
            <a:off x="2167469" y="4806158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167" name="Háromszög 166"/>
          <p:cNvSpPr/>
          <p:nvPr/>
        </p:nvSpPr>
        <p:spPr>
          <a:xfrm rot="10800000">
            <a:off x="4897381" y="2167732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graphicFrame>
        <p:nvGraphicFramePr>
          <p:cNvPr id="9" name="Objektum 8"/>
          <p:cNvGraphicFramePr>
            <a:graphicFrameLocks/>
          </p:cNvGraphicFramePr>
          <p:nvPr>
            <p:custDataLst>
              <p:tags r:id="rId100"/>
            </p:custDataLst>
            <p:extLst>
              <p:ext uri="{D42A27DB-BD31-4B8C-83A1-F6EECF244321}">
                <p14:modId xmlns:p14="http://schemas.microsoft.com/office/powerpoint/2010/main" val="147378907"/>
              </p:ext>
            </p:extLst>
          </p:nvPr>
        </p:nvGraphicFramePr>
        <p:xfrm>
          <a:off x="1223964" y="1642534"/>
          <a:ext cx="1381125" cy="14866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8" name="Diagram" r:id="rId151" imgW="1381190" imgH="914490" progId="MSGraph.Chart.8">
                  <p:embed followColorScheme="full"/>
                </p:oleObj>
              </mc:Choice>
              <mc:Fallback>
                <p:oleObj name="Diagram" r:id="rId151" imgW="1381190" imgH="91449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5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3964" y="1642534"/>
                        <a:ext cx="1381125" cy="14866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2" name="Szöveg helye 53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 flipV="1">
            <a:off x="1403648" y="2172791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E93AAEC4-2DD9-45DD-8256-A5C7393B118C}" type="datetime'''''''''''''''''2'''''''',6''''1''''''%'''''''''''''''''">
              <a:rPr lang="en-US" sz="1000" b="1">
                <a:solidFill>
                  <a:srgbClr val="4C4C4C"/>
                </a:solidFill>
                <a:sym typeface="+mn-lt"/>
              </a:rPr>
              <a:pPr marL="0" indent="0" algn="ctr">
                <a:buNone/>
              </a:pPr>
              <a:t>2,61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445" name="Szöveg helye 55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 flipV="1">
            <a:off x="1673930" y="1897063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  <a:sym typeface="+mn-lt"/>
              </a:rPr>
              <a:t>6,78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11" name="Egyenes összekötő 10"/>
          <p:cNvCxnSpPr/>
          <p:nvPr/>
        </p:nvCxnSpPr>
        <p:spPr>
          <a:xfrm>
            <a:off x="1888655" y="1802549"/>
            <a:ext cx="0" cy="7993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Háromszög 168"/>
          <p:cNvSpPr/>
          <p:nvPr/>
        </p:nvSpPr>
        <p:spPr>
          <a:xfrm rot="10800000">
            <a:off x="7358064" y="2671368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graphicFrame>
        <p:nvGraphicFramePr>
          <p:cNvPr id="12" name="Objektum 11"/>
          <p:cNvGraphicFramePr>
            <a:graphicFrameLocks/>
          </p:cNvGraphicFramePr>
          <p:nvPr>
            <p:custDataLst>
              <p:tags r:id="rId103"/>
            </p:custDataLst>
            <p:extLst>
              <p:ext uri="{D42A27DB-BD31-4B8C-83A1-F6EECF244321}">
                <p14:modId xmlns:p14="http://schemas.microsoft.com/office/powerpoint/2010/main" val="397351418"/>
              </p:ext>
            </p:extLst>
          </p:nvPr>
        </p:nvGraphicFramePr>
        <p:xfrm>
          <a:off x="1462089" y="4575803"/>
          <a:ext cx="1381125" cy="1076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9" name="Diagram" r:id="rId153" imgW="1381190" imgH="1076220" progId="MSGraph.Chart.8">
                  <p:embed followColorScheme="full"/>
                </p:oleObj>
              </mc:Choice>
              <mc:Fallback>
                <p:oleObj name="Diagram" r:id="rId153" imgW="1381190" imgH="107622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5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2089" y="4575803"/>
                        <a:ext cx="1381125" cy="1076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8" name="Szöveg helye 55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 flipV="1">
            <a:off x="2062163" y="3373139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3,73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99" name="Szöveg helye 53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 flipV="1">
            <a:off x="1790700" y="3357563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7CCB6F06-BDE7-4BF9-B963-6D3C25ED8B6A}" type="datetime'''''''3'''''''''',8''''''''''3''''''''''%''''''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3,83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53" name="Szöveg helye 53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 flipV="1">
            <a:off x="1638301" y="4962526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AD753AAB-1718-437D-B19E-F4FCF4E4C249}" type="datetime'''''''''''''''4'''',''5''3''''''''%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4,53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52" name="Szöveg helye 55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 flipV="1">
            <a:off x="1909763" y="5010150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4,24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3" name="Háromszög 172"/>
          <p:cNvSpPr/>
          <p:nvPr/>
        </p:nvSpPr>
        <p:spPr>
          <a:xfrm rot="10800000">
            <a:off x="2276475" y="3209230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sp>
        <p:nvSpPr>
          <p:cNvPr id="174" name="Háromszög 173"/>
          <p:cNvSpPr/>
          <p:nvPr/>
        </p:nvSpPr>
        <p:spPr>
          <a:xfrm rot="10800000">
            <a:off x="2786063" y="4645027"/>
            <a:ext cx="357188" cy="327818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hu-HU"/>
          </a:p>
        </p:txBody>
      </p:sp>
      <p:graphicFrame>
        <p:nvGraphicFramePr>
          <p:cNvPr id="17" name="Objektum 16"/>
          <p:cNvGraphicFramePr>
            <a:graphicFrameLocks/>
          </p:cNvGraphicFramePr>
          <p:nvPr>
            <p:custDataLst>
              <p:tags r:id="rId108"/>
            </p:custDataLst>
            <p:extLst>
              <p:ext uri="{D42A27DB-BD31-4B8C-83A1-F6EECF244321}">
                <p14:modId xmlns:p14="http://schemas.microsoft.com/office/powerpoint/2010/main" val="2840442104"/>
              </p:ext>
            </p:extLst>
          </p:nvPr>
        </p:nvGraphicFramePr>
        <p:xfrm>
          <a:off x="2979738" y="4579940"/>
          <a:ext cx="1381125" cy="787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0" name="Diagram" r:id="rId155" imgW="1381190" imgH="1076220" progId="MSGraph.Chart.8">
                  <p:embed followColorScheme="full"/>
                </p:oleObj>
              </mc:Choice>
              <mc:Fallback>
                <p:oleObj name="Diagram" r:id="rId155" imgW="1381190" imgH="107622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5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9738" y="4579940"/>
                        <a:ext cx="1381125" cy="787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" name="Szöveg helye 53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 flipV="1">
            <a:off x="3171825" y="4743451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fld id="{99FBA0F9-63D4-4098-8664-A7B691D52E50}" type="datetime'''3'''''''''''''''''''''',''''''''''71''''''''''''''%'''''''''">
              <a:rPr lang="en-US" sz="1000" b="1">
                <a:solidFill>
                  <a:srgbClr val="4C4C4C"/>
                </a:solidFill>
              </a:rPr>
              <a:pPr marL="0" indent="0" algn="ctr">
                <a:buNone/>
              </a:pPr>
              <a:t>3,71%</a:t>
            </a:fld>
            <a:endParaRPr lang="hu-HU" sz="1000" b="1" dirty="0">
              <a:solidFill>
                <a:srgbClr val="4C4C4C"/>
              </a:solidFill>
              <a:sym typeface="+mn-lt"/>
            </a:endParaRPr>
          </a:p>
        </p:txBody>
      </p:sp>
      <p:sp>
        <p:nvSpPr>
          <p:cNvPr id="644" name="Szöveg helye 55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 flipV="1">
            <a:off x="3437302" y="4765544"/>
            <a:ext cx="152400" cy="39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eaVert" wrap="none" lIns="0" tIns="17462" rIns="0" bIns="17462" numCol="1" spcCol="0" anchor="ctr" anchorCtr="0">
            <a:noAutofit/>
          </a:bodyPr>
          <a:lstStyle>
            <a:lvl1pPr marL="348020" indent="-34802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5683" indent="-144064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299460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38668" indent="-135970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592444" indent="-150539" algn="l" defTabSz="911329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060136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526268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1992405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458541" indent="-152142" algn="l" defTabSz="91284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hu-HU" sz="1000" b="1" dirty="0" smtClean="0">
                <a:solidFill>
                  <a:schemeClr val="bg1"/>
                </a:solidFill>
              </a:rPr>
              <a:t>3,33%</a:t>
            </a:r>
            <a:endParaRPr lang="hu-HU" sz="1000" b="1" dirty="0">
              <a:solidFill>
                <a:schemeClr val="bg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93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8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8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4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19" grpId="0" animBg="1"/>
      <p:bldP spid="8" grpId="0" animBg="1"/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2"/>
          <p:cNvGraphicFramePr/>
          <p:nvPr>
            <p:extLst>
              <p:ext uri="{D42A27DB-BD31-4B8C-83A1-F6EECF244321}">
                <p14:modId xmlns:p14="http://schemas.microsoft.com/office/powerpoint/2010/main" val="4000888978"/>
              </p:ext>
            </p:extLst>
          </p:nvPr>
        </p:nvGraphicFramePr>
        <p:xfrm>
          <a:off x="116507" y="1874328"/>
          <a:ext cx="8824973" cy="4744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3" name="Diagram 52"/>
          <p:cNvGraphicFramePr/>
          <p:nvPr>
            <p:extLst>
              <p:ext uri="{D42A27DB-BD31-4B8C-83A1-F6EECF244321}">
                <p14:modId xmlns:p14="http://schemas.microsoft.com/office/powerpoint/2010/main" val="3961282118"/>
              </p:ext>
            </p:extLst>
          </p:nvPr>
        </p:nvGraphicFramePr>
        <p:xfrm>
          <a:off x="119251" y="1875451"/>
          <a:ext cx="8824973" cy="4744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ábláza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405317"/>
              </p:ext>
            </p:extLst>
          </p:nvPr>
        </p:nvGraphicFramePr>
        <p:xfrm>
          <a:off x="116507" y="897470"/>
          <a:ext cx="8910983" cy="877342"/>
        </p:xfrm>
        <a:graphic>
          <a:graphicData uri="http://schemas.openxmlformats.org/drawingml/2006/table">
            <a:tbl>
              <a:tblPr/>
              <a:tblGrid>
                <a:gridCol w="1602572"/>
                <a:gridCol w="763925"/>
                <a:gridCol w="763925"/>
                <a:gridCol w="763925"/>
                <a:gridCol w="763925"/>
                <a:gridCol w="763925"/>
                <a:gridCol w="763925"/>
                <a:gridCol w="908287"/>
                <a:gridCol w="908287"/>
                <a:gridCol w="908287"/>
              </a:tblGrid>
              <a:tr h="435322"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Bevezetés dátuma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697" marR="6697" marT="6697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1988.12.26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1994.01.01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1994.11.07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2002.12.01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2004.04.01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2005.02.01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2015.07.01. CSOK </a:t>
                      </a:r>
                      <a:r>
                        <a:rPr lang="hu-HU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átl</a:t>
                      </a:r>
                      <a:r>
                        <a:rPr lang="hu-H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.</a:t>
                      </a:r>
                    </a:p>
                  </a:txBody>
                  <a:tcPr marL="6697" marR="6697" marT="669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hu-HU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16.01.01 CSOK átla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hu-HU" sz="105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16.01.01 CSOK </a:t>
                      </a:r>
                      <a:r>
                        <a:rPr lang="hu-HU" sz="105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 gyerekre</a:t>
                      </a:r>
                      <a:endParaRPr lang="hu-HU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</a:tr>
              <a:tr h="221010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Összeg </a:t>
                      </a:r>
                      <a:r>
                        <a:rPr lang="hu-HU" sz="1200" b="1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nominál</a:t>
                      </a:r>
                      <a:r>
                        <a:rPr lang="hu-H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 értéken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50625" marR="6697" marT="6697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0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20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60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 000 </a:t>
                      </a:r>
                      <a:r>
                        <a:rPr lang="hu-H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0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 40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000 </a:t>
                      </a:r>
                      <a:r>
                        <a:rPr lang="hu-H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00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42816" rtl="0" eaLnBrk="1" fontAlgn="b" latinLnBrk="0" hangingPunct="1"/>
                      <a:r>
                        <a:rPr lang="hu-H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 500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42816" rtl="0" eaLnBrk="1" fontAlgn="b" latinLnBrk="0" hangingPunct="1"/>
                      <a:r>
                        <a:rPr lang="hu-H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0 000 </a:t>
                      </a:r>
                      <a:r>
                        <a:rPr lang="hu-HU" sz="1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000</a:t>
                      </a:r>
                      <a:endParaRPr lang="hu-H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221010">
                <a:tc>
                  <a:txBody>
                    <a:bodyPr/>
                    <a:lstStyle/>
                    <a:p>
                      <a:pPr marL="0" algn="l" defTabSz="914307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Összeg mai értéken</a:t>
                      </a:r>
                      <a:endParaRPr lang="hu-HU" sz="1200" b="1" i="0" u="none" strike="noStrike" kern="1200" dirty="0">
                        <a:solidFill>
                          <a:srgbClr val="FFFFFF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50625" marR="6697" marT="6697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642 71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17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 680 000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 567 979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005 618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481 397</a:t>
                      </a: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000 </a:t>
                      </a:r>
                      <a:r>
                        <a:rPr lang="hu-H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00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697" marR="6697" marT="6697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42816" rtl="0" eaLnBrk="1" fontAlgn="b" latinLnBrk="0" hangingPunct="1"/>
                      <a:r>
                        <a:rPr lang="hu-H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 500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42816" rtl="0" eaLnBrk="1" fontAlgn="b" latinLnBrk="0" hangingPunct="1"/>
                      <a:r>
                        <a:rPr lang="hu-H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0 000 </a:t>
                      </a:r>
                      <a:r>
                        <a:rPr lang="hu-HU" sz="12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000</a:t>
                      </a:r>
                      <a:endParaRPr lang="hu-H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</a:tbl>
          </a:graphicData>
        </a:graphic>
      </p:graphicFrame>
      <p:sp>
        <p:nvSpPr>
          <p:cNvPr id="32" name="Téglalap 31"/>
          <p:cNvSpPr/>
          <p:nvPr/>
        </p:nvSpPr>
        <p:spPr>
          <a:xfrm>
            <a:off x="65877" y="6568099"/>
            <a:ext cx="3625973" cy="218800"/>
          </a:xfrm>
          <a:prstGeom prst="rect">
            <a:avLst/>
          </a:prstGeom>
        </p:spPr>
        <p:txBody>
          <a:bodyPr wrap="none" lIns="64284" tIns="32142" rIns="64284" bIns="32142">
            <a:spAutoFit/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1000" dirty="0">
                <a:solidFill>
                  <a:srgbClr val="000000"/>
                </a:solidFill>
                <a:latin typeface="Calibri Light" panose="020F0302020204030204" pitchFamily="34" charset="0"/>
                <a:sym typeface="Gill Sans" charset="0"/>
              </a:rPr>
              <a:t>Forrás: Népszava, 1988. június (116. évfolyam, 130–155. sz.) és KSH</a:t>
            </a:r>
          </a:p>
        </p:txBody>
      </p:sp>
      <p:sp>
        <p:nvSpPr>
          <p:cNvPr id="45" name="Cím 1"/>
          <p:cNvSpPr txBox="1">
            <a:spLocks/>
          </p:cNvSpPr>
          <p:nvPr/>
        </p:nvSpPr>
        <p:spPr>
          <a:xfrm>
            <a:off x="180147" y="174356"/>
            <a:ext cx="8178067" cy="540000"/>
          </a:xfrm>
          <a:prstGeom prst="rect">
            <a:avLst/>
          </a:prstGeom>
          <a:solidFill>
            <a:srgbClr val="53A31D">
              <a:lumMod val="40000"/>
              <a:lumOff val="6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71996" tIns="0" rIns="71996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 algn="ctr" defTabSz="906384" eaLnBrk="0" fontAlgn="base" hangingPunct="0">
              <a:spcAft>
                <a:spcPct val="0"/>
              </a:spcAft>
            </a:pPr>
            <a:r>
              <a:rPr lang="hu-HU" sz="2800" dirty="0" smtClean="0">
                <a:solidFill>
                  <a:srgbClr val="000000"/>
                </a:solidFill>
                <a:latin typeface="Calibri"/>
              </a:rPr>
              <a:t>„Szocpol” összegének alakulása </a:t>
            </a:r>
            <a:r>
              <a:rPr lang="hu-HU" sz="2000" dirty="0" smtClean="0">
                <a:solidFill>
                  <a:srgbClr val="000000"/>
                </a:solidFill>
                <a:latin typeface="Calibri"/>
              </a:rPr>
              <a:t>(2 gyermekes család esetében)</a:t>
            </a:r>
            <a:endParaRPr kumimoji="0" lang="hu-HU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Arial" panose="020B0604020202020204" pitchFamily="34" charset="0"/>
            </a:endParaRPr>
          </a:p>
        </p:txBody>
      </p:sp>
      <p:sp>
        <p:nvSpPr>
          <p:cNvPr id="42" name="Téglalap 41"/>
          <p:cNvSpPr/>
          <p:nvPr/>
        </p:nvSpPr>
        <p:spPr bwMode="auto">
          <a:xfrm>
            <a:off x="65875" y="1556792"/>
            <a:ext cx="9033326" cy="318659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4284" tIns="32142" rIns="64284" bIns="32142" numCol="1" rtlCol="0" anchor="t" anchorCtr="0" compatLnSpc="1">
            <a:prstTxWarp prst="textNoShape">
              <a:avLst/>
            </a:prstTxWarp>
          </a:bodyPr>
          <a:lstStyle/>
          <a:p>
            <a:pPr defTabSz="642849" fontAlgn="base">
              <a:spcBef>
                <a:spcPct val="0"/>
              </a:spcBef>
              <a:spcAft>
                <a:spcPct val="0"/>
              </a:spcAft>
            </a:pPr>
            <a:endParaRPr lang="hu-HU" sz="8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44" name="Szövegdoboz 43"/>
          <p:cNvSpPr txBox="1"/>
          <p:nvPr/>
        </p:nvSpPr>
        <p:spPr>
          <a:xfrm>
            <a:off x="1491993" y="1875451"/>
            <a:ext cx="7138918" cy="607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09" tIns="35709" rIns="35709" bIns="35709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0000"/>
              </a:lnSpc>
              <a:defRPr sz="4400">
                <a:solidFill>
                  <a:srgbClr val="59B23F"/>
                </a:solidFill>
                <a:latin typeface="+mj-lt"/>
                <a:ea typeface="+mj-ea"/>
                <a:cs typeface="+mj-cs"/>
                <a:sym typeface="DIN Next W1G Light" charset="0"/>
              </a:defRPr>
            </a:lvl1pPr>
            <a:lvl2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2pPr>
            <a:lvl3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3pPr>
            <a:lvl4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4pPr>
            <a:lvl5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5pPr>
            <a:lvl6pPr marL="45715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6pPr>
            <a:lvl7pPr marL="91430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7pPr>
            <a:lvl8pPr marL="137146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8pPr>
            <a:lvl9pPr marL="182861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9pPr>
          </a:lstStyle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3200" dirty="0">
                <a:solidFill>
                  <a:schemeClr val="tx1"/>
                </a:solidFill>
                <a:latin typeface="Calibri Light" panose="020F0302020204030204" pitchFamily="34" charset="0"/>
              </a:rPr>
              <a:t>Az </a:t>
            </a:r>
            <a:r>
              <a:rPr lang="hu-HU" sz="3200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akkori </a:t>
            </a:r>
            <a:r>
              <a:rPr lang="hu-HU" sz="3200" dirty="0">
                <a:solidFill>
                  <a:schemeClr val="tx1"/>
                </a:solidFill>
                <a:latin typeface="Calibri Light" panose="020F0302020204030204" pitchFamily="34" charset="0"/>
              </a:rPr>
              <a:t>létminimum hányszorosa?</a:t>
            </a:r>
          </a:p>
        </p:txBody>
      </p:sp>
      <p:sp>
        <p:nvSpPr>
          <p:cNvPr id="46" name="Szövegdoboz 45"/>
          <p:cNvSpPr txBox="1"/>
          <p:nvPr/>
        </p:nvSpPr>
        <p:spPr>
          <a:xfrm>
            <a:off x="1513205" y="4005064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21</a:t>
            </a:r>
          </a:p>
        </p:txBody>
      </p:sp>
      <p:sp>
        <p:nvSpPr>
          <p:cNvPr id="47" name="Szövegdoboz 46"/>
          <p:cNvSpPr txBox="1"/>
          <p:nvPr/>
        </p:nvSpPr>
        <p:spPr>
          <a:xfrm>
            <a:off x="2293622" y="4005064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6</a:t>
            </a:r>
          </a:p>
        </p:txBody>
      </p:sp>
      <p:sp>
        <p:nvSpPr>
          <p:cNvPr id="48" name="Szövegdoboz 47"/>
          <p:cNvSpPr txBox="1"/>
          <p:nvPr/>
        </p:nvSpPr>
        <p:spPr>
          <a:xfrm>
            <a:off x="3203848" y="3789040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25</a:t>
            </a:r>
          </a:p>
        </p:txBody>
      </p:sp>
      <p:sp>
        <p:nvSpPr>
          <p:cNvPr id="49" name="Szövegdoboz 48"/>
          <p:cNvSpPr txBox="1"/>
          <p:nvPr/>
        </p:nvSpPr>
        <p:spPr>
          <a:xfrm>
            <a:off x="3913065" y="3723356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3</a:t>
            </a:r>
          </a:p>
        </p:txBody>
      </p:sp>
      <p:sp>
        <p:nvSpPr>
          <p:cNvPr id="50" name="Szövegdoboz 49"/>
          <p:cNvSpPr txBox="1"/>
          <p:nvPr/>
        </p:nvSpPr>
        <p:spPr>
          <a:xfrm>
            <a:off x="4723155" y="3651348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3</a:t>
            </a:r>
          </a:p>
        </p:txBody>
      </p:sp>
      <p:sp>
        <p:nvSpPr>
          <p:cNvPr id="51" name="Szövegdoboz 50"/>
          <p:cNvSpPr txBox="1"/>
          <p:nvPr/>
        </p:nvSpPr>
        <p:spPr>
          <a:xfrm>
            <a:off x="5533245" y="3501008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5</a:t>
            </a:r>
          </a:p>
        </p:txBody>
      </p:sp>
      <p:sp>
        <p:nvSpPr>
          <p:cNvPr id="52" name="Szövegdoboz 51"/>
          <p:cNvSpPr txBox="1"/>
          <p:nvPr/>
        </p:nvSpPr>
        <p:spPr>
          <a:xfrm>
            <a:off x="6343335" y="3838332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4</a:t>
            </a:r>
          </a:p>
        </p:txBody>
      </p:sp>
      <p:sp>
        <p:nvSpPr>
          <p:cNvPr id="54" name="Szövegdoboz 53"/>
          <p:cNvSpPr txBox="1"/>
          <p:nvPr/>
        </p:nvSpPr>
        <p:spPr>
          <a:xfrm>
            <a:off x="1989471" y="1851693"/>
            <a:ext cx="6325622" cy="607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09" tIns="35709" rIns="35709" bIns="35709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0000"/>
              </a:lnSpc>
              <a:defRPr sz="4400">
                <a:solidFill>
                  <a:srgbClr val="59B23F"/>
                </a:solidFill>
                <a:latin typeface="+mj-lt"/>
                <a:ea typeface="+mj-ea"/>
                <a:cs typeface="+mj-cs"/>
                <a:sym typeface="DIN Next W1G Light" charset="0"/>
              </a:defRPr>
            </a:lvl1pPr>
            <a:lvl2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2pPr>
            <a:lvl3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3pPr>
            <a:lvl4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4pPr>
            <a:lvl5pPr eaLnBrk="0" hangingPunct="0">
              <a:lnSpc>
                <a:spcPct val="80000"/>
              </a:lnSpc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5pPr>
            <a:lvl6pPr marL="45715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6pPr>
            <a:lvl7pPr marL="91430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7pPr>
            <a:lvl8pPr marL="137146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8pPr>
            <a:lvl9pPr marL="182861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59B23F"/>
                </a:solidFill>
                <a:latin typeface="DIN Next W1G Light" charset="0"/>
                <a:sym typeface="DIN Next W1G Light" charset="0"/>
              </a:defRPr>
            </a:lvl9pPr>
          </a:lstStyle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3600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A mai létminimum hányszorosa?</a:t>
            </a:r>
            <a:endParaRPr lang="hu-HU" sz="3600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55" name="Szövegdoboz 54"/>
          <p:cNvSpPr txBox="1"/>
          <p:nvPr/>
        </p:nvSpPr>
        <p:spPr>
          <a:xfrm>
            <a:off x="1513205" y="3284984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4</a:t>
            </a:r>
          </a:p>
        </p:txBody>
      </p:sp>
      <p:sp>
        <p:nvSpPr>
          <p:cNvPr id="56" name="Szövegdoboz 55"/>
          <p:cNvSpPr txBox="1"/>
          <p:nvPr/>
        </p:nvSpPr>
        <p:spPr>
          <a:xfrm>
            <a:off x="2305289" y="3789040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5</a:t>
            </a:r>
          </a:p>
        </p:txBody>
      </p:sp>
      <p:sp>
        <p:nvSpPr>
          <p:cNvPr id="57" name="Szövegdoboz 56"/>
          <p:cNvSpPr txBox="1"/>
          <p:nvPr/>
        </p:nvSpPr>
        <p:spPr>
          <a:xfrm>
            <a:off x="3113535" y="3140968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8</a:t>
            </a:r>
          </a:p>
        </p:txBody>
      </p:sp>
      <p:sp>
        <p:nvSpPr>
          <p:cNvPr id="58" name="Szövegdoboz 57"/>
          <p:cNvSpPr txBox="1"/>
          <p:nvPr/>
        </p:nvSpPr>
        <p:spPr>
          <a:xfrm>
            <a:off x="3864135" y="3501008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0</a:t>
            </a:r>
          </a:p>
        </p:txBody>
      </p:sp>
      <p:sp>
        <p:nvSpPr>
          <p:cNvPr id="59" name="Szövegdoboz 58"/>
          <p:cNvSpPr txBox="1"/>
          <p:nvPr/>
        </p:nvSpPr>
        <p:spPr>
          <a:xfrm>
            <a:off x="4723155" y="3291308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2</a:t>
            </a:r>
          </a:p>
        </p:txBody>
      </p:sp>
      <p:sp>
        <p:nvSpPr>
          <p:cNvPr id="60" name="Szövegdoboz 59"/>
          <p:cNvSpPr txBox="1"/>
          <p:nvPr/>
        </p:nvSpPr>
        <p:spPr>
          <a:xfrm>
            <a:off x="5560785" y="3219300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14</a:t>
            </a:r>
          </a:p>
        </p:txBody>
      </p:sp>
      <p:sp>
        <p:nvSpPr>
          <p:cNvPr id="61" name="Szövegdoboz 60"/>
          <p:cNvSpPr txBox="1"/>
          <p:nvPr/>
        </p:nvSpPr>
        <p:spPr>
          <a:xfrm>
            <a:off x="6343335" y="3857110"/>
            <a:ext cx="810090" cy="497732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4</a:t>
            </a:r>
          </a:p>
        </p:txBody>
      </p:sp>
      <p:sp>
        <p:nvSpPr>
          <p:cNvPr id="62" name="Szövegdoboz 61"/>
          <p:cNvSpPr txBox="1"/>
          <p:nvPr/>
        </p:nvSpPr>
        <p:spPr>
          <a:xfrm>
            <a:off x="7126144" y="3741866"/>
            <a:ext cx="810090" cy="495799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 smtClean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6</a:t>
            </a:r>
          </a:p>
        </p:txBody>
      </p:sp>
      <p:sp>
        <p:nvSpPr>
          <p:cNvPr id="63" name="Szövegdoboz 62"/>
          <p:cNvSpPr txBox="1"/>
          <p:nvPr/>
        </p:nvSpPr>
        <p:spPr>
          <a:xfrm>
            <a:off x="8028384" y="1963462"/>
            <a:ext cx="810090" cy="495799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 smtClean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 smtClean="0">
                <a:solidFill>
                  <a:srgbClr val="000000"/>
                </a:solidFill>
                <a:sym typeface="Gill Sans" charset="0"/>
              </a:rPr>
              <a:t>35</a:t>
            </a:r>
            <a:endParaRPr lang="hu-HU" sz="2800" b="1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64" name="Szövegdoboz 63"/>
          <p:cNvSpPr txBox="1"/>
          <p:nvPr/>
        </p:nvSpPr>
        <p:spPr>
          <a:xfrm>
            <a:off x="7126144" y="3737890"/>
            <a:ext cx="810090" cy="495799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 smtClean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>
                <a:solidFill>
                  <a:srgbClr val="000000"/>
                </a:solidFill>
                <a:sym typeface="Gill Sans" charset="0"/>
              </a:rPr>
              <a:t>6</a:t>
            </a:r>
          </a:p>
        </p:txBody>
      </p:sp>
      <p:sp>
        <p:nvSpPr>
          <p:cNvPr id="65" name="Szövegdoboz 64"/>
          <p:cNvSpPr txBox="1"/>
          <p:nvPr/>
        </p:nvSpPr>
        <p:spPr>
          <a:xfrm>
            <a:off x="8028384" y="1976019"/>
            <a:ext cx="810090" cy="495799"/>
          </a:xfrm>
          <a:prstGeom prst="rect">
            <a:avLst/>
          </a:prstGeom>
          <a:noFill/>
        </p:spPr>
        <p:txBody>
          <a:bodyPr wrap="square" lIns="64284" tIns="32142" rIns="64284" bIns="32142" rtlCol="0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r>
              <a:rPr lang="hu-HU" sz="2200" dirty="0" smtClean="0">
                <a:solidFill>
                  <a:srgbClr val="000000"/>
                </a:solidFill>
                <a:sym typeface="Gill Sans" charset="0"/>
              </a:rPr>
              <a:t>x</a:t>
            </a:r>
            <a:r>
              <a:rPr lang="hu-HU" sz="2800" b="1" dirty="0" smtClean="0">
                <a:solidFill>
                  <a:srgbClr val="000000"/>
                </a:solidFill>
                <a:sym typeface="Gill Sans" charset="0"/>
              </a:rPr>
              <a:t>35</a:t>
            </a:r>
            <a:endParaRPr lang="hu-HU" sz="2800" b="1" dirty="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29" name="Dia számának helye 2"/>
          <p:cNvSpPr>
            <a:spLocks noGrp="1"/>
          </p:cNvSpPr>
          <p:nvPr>
            <p:ph type="sldNum" sz="quarter" idx="10"/>
          </p:nvPr>
        </p:nvSpPr>
        <p:spPr>
          <a:xfrm>
            <a:off x="8733204" y="6492876"/>
            <a:ext cx="410796" cy="365125"/>
          </a:xfrm>
        </p:spPr>
        <p:txBody>
          <a:bodyPr vert="horz" lIns="91435" tIns="45718" rIns="91435" bIns="45718" rtlCol="0" anchor="ctr"/>
          <a:lstStyle/>
          <a:p>
            <a:pPr algn="r"/>
            <a:fld id="{9478EA37-6101-4105-A172-CA23275DDD68}" type="slidenum">
              <a:rPr lang="hu-HU" sz="100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pPr algn="r"/>
              <a:t>8</a:t>
            </a:fld>
            <a:endParaRPr lang="hu-HU" sz="1000" dirty="0">
              <a:solidFill>
                <a:prstClr val="black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4172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4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4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4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4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4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7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7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4" dur="2000" fill="hold"/>
                                        <p:tgtEl>
                                          <p:spTgt spid="4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6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9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8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4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6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8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9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0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2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4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9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4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9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4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9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4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9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4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9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6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64" dur="2000" fill="hold"/>
                                        <p:tgtEl>
                                          <p:spTgt spid="4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65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66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67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68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69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70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71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72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73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74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75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76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77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78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79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80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  <p:par>
                                <p:cTn id="181" presetID="50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2 -3.08745E-6 L -0.12233 -3.08745E-6 C -0.17715 -3.08745E-6 -0.24441 -0.03322 -0.24441 -0.05992 L -0.24441 -0.1192 " pathEditMode="relative" rAng="0" ptsTypes="FfFF">
                                      <p:cBhvr>
                                        <p:cTn id="182" dur="2000" fill="hold"/>
                                        <p:tgtEl>
                                          <p:spTgt spid="4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21" y="-59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8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500"/>
                            </p:stCondLst>
                            <p:childTnLst>
                              <p:par>
                                <p:cTn id="18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1" dur="500"/>
                                        <p:tgtEl>
                                          <p:spTgt spid="5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4" dur="500"/>
                                        <p:tgtEl>
                                          <p:spTgt spid="5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7" dur="500"/>
                                        <p:tgtEl>
                                          <p:spTgt spid="5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0" dur="500"/>
                                        <p:tgtEl>
                                          <p:spTgt spid="5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3" dur="500"/>
                                        <p:tgtEl>
                                          <p:spTgt spid="5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2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6" dur="500"/>
                                        <p:tgtEl>
                                          <p:spTgt spid="5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9" dur="500"/>
                                        <p:tgtEl>
                                          <p:spTgt spid="5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22" presetClass="entr" presetSubtype="4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2" dur="500"/>
                                        <p:tgtEl>
                                          <p:spTgt spid="5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5" dur="500"/>
                                        <p:tgtEl>
                                          <p:spTgt spid="5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22" presetClass="entr" presetSubtype="4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8" dur="500"/>
                                        <p:tgtEl>
                                          <p:spTgt spid="5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500"/>
                            </p:stCondLst>
                            <p:childTnLst>
                              <p:par>
                                <p:cTn id="2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7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3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7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0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2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3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4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7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8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0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3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4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5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7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8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9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0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2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3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5" presetID="42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8" dur="7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9" dur="7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3" grpId="0" uiExpand="1">
        <p:bldSub>
          <a:bldChart bld="category"/>
        </p:bldSub>
      </p:bldGraphic>
      <p:bldGraphic spid="43" grpId="1" uiExpand="1">
        <p:bldSub>
          <a:bldChart bld="category"/>
        </p:bldSub>
      </p:bldGraphic>
      <p:bldGraphic spid="43" grpId="2" uiExpand="1">
        <p:bldSub>
          <a:bldChart bld="category"/>
        </p:bldSub>
      </p:bldGraphic>
      <p:bldGraphic spid="53" grpId="0" uiExpand="1">
        <p:bldSub>
          <a:bldChart bld="category"/>
        </p:bldSub>
      </p:bldGraphic>
      <p:bldP spid="42" grpId="0" animBg="1"/>
      <p:bldP spid="44" grpId="0"/>
      <p:bldP spid="44" grpId="1"/>
      <p:bldP spid="46" grpId="0"/>
      <p:bldP spid="46" grpId="1"/>
      <p:bldP spid="47" grpId="0"/>
      <p:bldP spid="47" grpId="1"/>
      <p:bldP spid="48" grpId="0"/>
      <p:bldP spid="48" grpId="1"/>
      <p:bldP spid="49" grpId="0"/>
      <p:bldP spid="49" grpId="1"/>
      <p:bldP spid="50" grpId="0"/>
      <p:bldP spid="50" grpId="1"/>
      <p:bldP spid="51" grpId="0"/>
      <p:bldP spid="51" grpId="1"/>
      <p:bldP spid="52" grpId="0"/>
      <p:bldP spid="52" grpId="1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2" grpId="1"/>
      <p:bldP spid="63" grpId="0"/>
      <p:bldP spid="63" grpId="1"/>
      <p:bldP spid="64" grpId="0"/>
      <p:bldP spid="6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pPr/>
              <a:t>9</a:t>
            </a:fld>
            <a:endParaRPr lang="hu-HU" dirty="0">
              <a:solidFill>
                <a:prstClr val="black"/>
              </a:solidFill>
            </a:endParaRPr>
          </a:p>
        </p:txBody>
      </p:sp>
      <p:sp>
        <p:nvSpPr>
          <p:cNvPr id="4" name="Rectangle 19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35497" y="188318"/>
            <a:ext cx="8712968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hu-HU" sz="2000" dirty="0">
                <a:latin typeface="+mn-lt"/>
              </a:rPr>
              <a:t>4 pilléres támogatási rendszer</a:t>
            </a:r>
          </a:p>
        </p:txBody>
      </p:sp>
      <p:sp>
        <p:nvSpPr>
          <p:cNvPr id="6" name="Téglalap 5"/>
          <p:cNvSpPr/>
          <p:nvPr/>
        </p:nvSpPr>
        <p:spPr bwMode="gray">
          <a:xfrm>
            <a:off x="1835698" y="1628800"/>
            <a:ext cx="2160239" cy="1620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3" tIns="71993" rIns="107989" bIns="71993" rtlCol="0" anchor="ctr" anchorCtr="0"/>
          <a:lstStyle/>
          <a:p>
            <a:pPr algn="ctr" defTabSz="801606" eaLnBrk="0" hangingPunct="0"/>
            <a:r>
              <a:rPr lang="hu-HU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OK </a:t>
            </a:r>
            <a:endParaRPr lang="hu-HU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801606" eaLnBrk="0" hangingPunct="0"/>
            <a:r>
              <a:rPr lang="hu-HU" sz="16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ÁFA, akadálymentesítés, </a:t>
            </a:r>
            <a:r>
              <a:rPr lang="hu-HU" sz="16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b</a:t>
            </a:r>
            <a:r>
              <a:rPr lang="hu-HU" sz="16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</a:t>
            </a:r>
          </a:p>
        </p:txBody>
      </p:sp>
      <p:sp>
        <p:nvSpPr>
          <p:cNvPr id="7" name="Téglalap 6"/>
          <p:cNvSpPr/>
          <p:nvPr/>
        </p:nvSpPr>
        <p:spPr bwMode="gray">
          <a:xfrm>
            <a:off x="4932040" y="1628800"/>
            <a:ext cx="2160000" cy="1620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81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3" tIns="71993" rIns="107989" bIns="71993" rtlCol="0" anchor="ctr" anchorCtr="0"/>
          <a:lstStyle/>
          <a:p>
            <a:pPr algn="ctr" defTabSz="801606" eaLnBrk="0" hangingPunct="0">
              <a:spcAft>
                <a:spcPts val="800"/>
              </a:spcAft>
            </a:pPr>
            <a:r>
              <a:rPr lang="hu-HU" sz="2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at-támogatott hitelek </a:t>
            </a:r>
          </a:p>
        </p:txBody>
      </p:sp>
      <p:sp>
        <p:nvSpPr>
          <p:cNvPr id="8" name="Téglalap 7"/>
          <p:cNvSpPr/>
          <p:nvPr/>
        </p:nvSpPr>
        <p:spPr bwMode="gray">
          <a:xfrm>
            <a:off x="1835697" y="3789040"/>
            <a:ext cx="2160000" cy="1620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3" tIns="71993" rIns="107989" bIns="71993" rtlCol="0" anchor="ctr" anchorCtr="0"/>
          <a:lstStyle/>
          <a:p>
            <a:pPr algn="ctr" defTabSz="801606" eaLnBrk="0" hangingPunct="0">
              <a:spcAft>
                <a:spcPts val="800"/>
              </a:spcAft>
            </a:pPr>
            <a:r>
              <a:rPr lang="hu-HU" sz="2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áshitel </a:t>
            </a:r>
            <a:r>
              <a:rPr lang="hu-HU" sz="28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fetéria</a:t>
            </a:r>
            <a:endParaRPr lang="hu-HU" sz="2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églalap 8"/>
          <p:cNvSpPr/>
          <p:nvPr/>
        </p:nvSpPr>
        <p:spPr bwMode="gray">
          <a:xfrm>
            <a:off x="4932040" y="3789040"/>
            <a:ext cx="2160000" cy="1620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3" tIns="71993" rIns="107989" bIns="71993" rtlCol="0" anchor="ctr" anchorCtr="0"/>
          <a:lstStyle/>
          <a:p>
            <a:pPr algn="ctr" defTabSz="801606" eaLnBrk="0" hangingPunct="0">
              <a:spcAft>
                <a:spcPts val="800"/>
              </a:spcAft>
            </a:pPr>
            <a:r>
              <a:rPr lang="hu-HU" sz="2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TP</a:t>
            </a:r>
          </a:p>
        </p:txBody>
      </p:sp>
      <p:sp>
        <p:nvSpPr>
          <p:cNvPr id="10" name="Háromszög 9"/>
          <p:cNvSpPr/>
          <p:nvPr/>
        </p:nvSpPr>
        <p:spPr bwMode="gray">
          <a:xfrm>
            <a:off x="1909568" y="1224000"/>
            <a:ext cx="5110704" cy="792088"/>
          </a:xfrm>
          <a:prstGeom prst="triangle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1993" tIns="71993" rIns="107989" bIns="71993" rtlCol="0" anchor="ctr" anchorCtr="0"/>
          <a:lstStyle/>
          <a:p>
            <a:pPr algn="ctr" defTabSz="801606" eaLnBrk="0" hangingPunct="0"/>
            <a:endParaRPr lang="hu-HU" sz="3600" b="1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62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4" presetClass="entr" presetSubtype="1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4" presetClass="entr" presetSubtype="1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4" presetClass="entr" presetSubtype="1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250"/>
                            </p:stCondLst>
                            <p:childTnLst>
                              <p:par>
                                <p:cTn id="21" presetID="49" presetClass="path" presetSubtype="0" accel="50000" decel="5000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5E-6 2.96296E-6 L 0.05521 0.05532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60" y="2755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72222E-6 2.96296E-6 L -0.05504 0.0553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60" y="2755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5E-6 -2.59259E-6 L 0.05521 -0.0340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60" y="-1713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72222E-6 -2.59259E-6 L -0.05504 -0.03403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60" y="-1713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q_T6RbUGrDAVl2l6qZ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08WIm3B0ajA4IdZ7kyH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UQqRZEjU2qwBiRlGsh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SE_rHqEGOxAUY4dK8L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hiwHM_02z_KzR9E.Js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HhRdLpy0iMuIr4u59uz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rkg.OQ50qVWCwqTNEhR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1zYBvzDE2_RRskxu2U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IV6Cq.Ykezlnj6jmx3w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1To0EJvUes8O4yMAxb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0qDmjB2k6.I6N515aN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0XynuviUuUX7iqxc9X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gWeeRWWkOSWAuMm09Ui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egPqPab0mwfPdW3bmb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rgD8fuD06Fey41c_dEs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1_e_HlDUq91RVJ0v3c1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oW6n0rX0mzB10kM20sL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2wViaVUiMoLwLiyEH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egPqPab0mwfPdW3bmb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cQ.4GG00uPe_e7i5Nn7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Io4dxMEk6SUaWc4.316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T3wMH2vES_UUUgnE2m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a8gsU8ykmgWU8BJwu_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.W8vTqikCmD.tYjNk3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mhGQCJ02cEziKVA9k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iPTs_UUO6xsssylEs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SDBfMdnUWqjkQziZcs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BuIYX3wEeX5wWgahB9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ynUAwewEy1QjGhppx0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q72lmeJEWj4YQPGbyX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FbxWQzUUyAdN3LkPmG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fEtMqVS0iMRSRz93OD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LOJWPoTUCmckTG3OCX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HybRZkd0WKhCB_3mMQ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6tCJPlHEqQ1VIzbf7w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szesK.SkadxA41ATlG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_nzbRCS02ITDm5KyzV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fgHWZPUC2OwqMFdYY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KWOZxfTkilzNtoN62R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DCERY9CkKzxB5KzvYR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cW35g0X0eth5S2TRTI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Rk9duDRUOD.svxoCVE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o1njIQAUWup0dvD7.t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WzXOuB0iHvclaMAub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o88nT0p0Ses8Bo3gqa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TCOVr4vEutDIOb_zIm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QHl6fwjE.MsG5wGcsu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.QY4Xqf0O9WiB.QgLz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FVfCrMQ0CUeMDyiFJ1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ff7UIP60Gs8WJea766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WeOXFUnUW6uju4C_7R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1To0EJvUes8O4yMAxb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twR785Q0G7bAix8Um5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_bFBdbHkq9zpOFsQ9i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15fcnQsEK3Ww1Zli0v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MaqgD1J02BgxE1aEmo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y2AqseVU.9sE5papHh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6buPQkY0eneaB10qDW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4UliPiVEmkxZ56_myv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57FUSHskiRyioYPoYD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aiFClUcEeLXDTAw4_9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_PQVzC4keT8h_62tlR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u3.._EWJCrEv4NfV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ie0yeP2E2MlYlAWwA7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e4dlI9U6xVdNcZKIY_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.eRFyZ1U.3_.pCuVQ6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pgfhdEkUucAAexGmuy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cHVCc1NkC9.Rw7zRI4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d1DWLwzkytR1WZcT.6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AaimoaL0GlcGPmNG3S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dxuSrPEEuzity_26To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M2XZ_fy0yyGvBxAhxn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sWATGMk6OVIuN3.5S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yuQoluU2Yu1lIbDgG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kKPoBNg0iBz4tbr3Ts0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ur9bnbEWqvUvCNBj1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Y6dwGnNEmANM7s.R8i4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dZYFsLUiJy05QcJ8.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uYVDMdkE2EetUoMINU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Rv4b_6U.lSiy2Vs3s3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6ecf3cCUmQK1WY71rV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.9rDOXrUiZK6i4R2Rh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wLNXDVEaa0D39JVXR7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CgFrFhr0iz3TgpwNeer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GANhmCnUKOxoYJT2kN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6g5RBcU2HWC8kHYKK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bK.haxh02bGE3zfvut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9BYxx2CkGyHNAOtCI50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.2YUCi9ESVHqeJMNWI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dcJ8V8fUy5dKmTO1zWj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sWesCeEGpym0gUrd6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Lfcu3Q.UqGkKWONoEs.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VUwP8piEmTeZ52IXA9l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KCWbnpESTdsMyi09hp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MKglYFoUe_ioIex.GgY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HIAnHLdk2qbpyqiJcKB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w8r3_ImkC.aqPAX9Di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2F8Gz38kq1adloOgnn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0jK_llUy_SGcScK1s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mZ7mgwi0uP2uE6I1XaA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78l1ElTU.cHuZKAU5n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JyqHvTUuf3FW6GdSu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h1zOr50EWt5wWP2HN5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K7v0p90eO9ZI7SURH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zlwMfhtUy5YuzK4A7I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FfkIf0EkmQTBvYYOIvq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egPqPab0mwfPdW3bmb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FeBLW1g02b9RhSp4uo9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MPqF54E0ecY3n8RRo9YA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theme1.xml><?xml version="1.0" encoding="utf-8"?>
<a:theme xmlns:a="http://schemas.openxmlformats.org/drawingml/2006/main" name="blank">
  <a:themeElements>
    <a:clrScheme name="Egyéni 1. séma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53A31D"/>
      </a:accent1>
      <a:accent2>
        <a:srgbClr val="B2B2B2"/>
      </a:accent2>
      <a:accent3>
        <a:srgbClr val="0070C0"/>
      </a:accent3>
      <a:accent4>
        <a:srgbClr val="C30C3E"/>
      </a:accent4>
      <a:accent5>
        <a:srgbClr val="FFC000"/>
      </a:accent5>
      <a:accent6>
        <a:srgbClr val="7030A0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headEnd/>
          <a:tailEnd/>
        </a:ln>
        <a:effectLst>
          <a:outerShdw dist="20000" dir="2700000" rotWithShape="0">
            <a:srgbClr val="000000">
              <a:alpha val="38000"/>
            </a:srgbClr>
          </a:outerShdw>
        </a:effectLst>
      </a:spPr>
      <a:bodyPr lIns="72000" tIns="72000" rIns="108000" bIns="72000" anchor="t" anchorCtr="0"/>
      <a:lstStyle>
        <a:defPPr marL="171450" indent="-171450" defTabSz="801688" eaLnBrk="0" hangingPunct="0">
          <a:spcAft>
            <a:spcPts val="800"/>
          </a:spcAft>
          <a:buFont typeface="Wingdings" panose="05000000000000000000" pitchFamily="2" charset="2"/>
          <a:buChar char="§"/>
          <a:defRPr sz="1200" dirty="0" err="1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txDef>
      <a:spPr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285750" indent="-285750">
          <a:buFont typeface="Wingdings" panose="05000000000000000000" pitchFamily="2" charset="2"/>
          <a:buChar char="§"/>
          <a:defRPr sz="1200" dirty="0" err="1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separator">
  <a:themeElements>
    <a:clrScheme name="Section separato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ection separator">
      <a:majorFont>
        <a:latin typeface="DIN Next W1G Light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hu-HU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hu-HU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ction separato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Egyéni 1. séma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53A31D"/>
      </a:accent1>
      <a:accent2>
        <a:srgbClr val="B2B2B2"/>
      </a:accent2>
      <a:accent3>
        <a:srgbClr val="0070C0"/>
      </a:accent3>
      <a:accent4>
        <a:srgbClr val="C30C3E"/>
      </a:accent4>
      <a:accent5>
        <a:srgbClr val="FFC000"/>
      </a:accent5>
      <a:accent6>
        <a:srgbClr val="7030A0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headEnd/>
          <a:tailEnd/>
        </a:ln>
        <a:effectLst>
          <a:outerShdw dist="20000" dir="2700000" rotWithShape="0">
            <a:srgbClr val="000000">
              <a:alpha val="38000"/>
            </a:srgbClr>
          </a:outerShdw>
        </a:effectLst>
      </a:spPr>
      <a:bodyPr lIns="72000" tIns="72000" rIns="108000" bIns="72000" anchor="t" anchorCtr="0"/>
      <a:lstStyle>
        <a:defPPr marL="171450" indent="-171450" defTabSz="801688" eaLnBrk="0" hangingPunct="0">
          <a:spcAft>
            <a:spcPts val="800"/>
          </a:spcAft>
          <a:buFont typeface="Wingdings" panose="05000000000000000000" pitchFamily="2" charset="2"/>
          <a:buChar char="§"/>
          <a:defRPr sz="1200" dirty="0" err="1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txDef>
      <a:spPr>
        <a:noFill/>
        <a:ln w="9525">
          <a:noFill/>
          <a:miter lim="800000"/>
          <a:headEnd/>
          <a:tailEnd/>
        </a:ln>
        <a:effectLst/>
      </a:spPr>
      <a:bodyPr wrap="square" lIns="0" tIns="0" rIns="0" bIns="0">
        <a:spAutoFit/>
      </a:bodyPr>
      <a:lstStyle>
        <a:defPPr marL="285750" indent="-285750">
          <a:buFont typeface="Wingdings" panose="05000000000000000000" pitchFamily="2" charset="2"/>
          <a:buChar char="§"/>
          <a:defRPr sz="1200" dirty="0" err="1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6_McK_OTP_hu">
  <a:themeElements>
    <a:clrScheme name="McK_OTP_hu 13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B7EA72"/>
      </a:accent2>
      <a:accent3>
        <a:srgbClr val="FFFFFF"/>
      </a:accent3>
      <a:accent4>
        <a:srgbClr val="000000"/>
      </a:accent4>
      <a:accent5>
        <a:srgbClr val="FFFFFF"/>
      </a:accent5>
      <a:accent6>
        <a:srgbClr val="A6D467"/>
      </a:accent6>
      <a:hlink>
        <a:srgbClr val="70B21A"/>
      </a:hlink>
      <a:folHlink>
        <a:srgbClr val="006649"/>
      </a:folHlink>
    </a:clrScheme>
    <a:fontScheme name="McK_OTP_h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cK_OTP_h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11">
        <a:dk1>
          <a:srgbClr val="006649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B7EA72"/>
        </a:accent2>
        <a:accent3>
          <a:srgbClr val="FFFFFF"/>
        </a:accent3>
        <a:accent4>
          <a:srgbClr val="00563D"/>
        </a:accent4>
        <a:accent5>
          <a:srgbClr val="FFFFFF"/>
        </a:accent5>
        <a:accent6>
          <a:srgbClr val="A6D467"/>
        </a:accent6>
        <a:hlink>
          <a:srgbClr val="70B21A"/>
        </a:hlink>
        <a:folHlink>
          <a:srgbClr val="0066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12">
        <a:dk1>
          <a:srgbClr val="000000"/>
        </a:dk1>
        <a:lt1>
          <a:srgbClr val="FFFFFF"/>
        </a:lt1>
        <a:dk2>
          <a:srgbClr val="006649"/>
        </a:dk2>
        <a:lt2>
          <a:srgbClr val="000000"/>
        </a:lt2>
        <a:accent1>
          <a:srgbClr val="FFFFFF"/>
        </a:accent1>
        <a:accent2>
          <a:srgbClr val="B7EA7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6D467"/>
        </a:accent6>
        <a:hlink>
          <a:srgbClr val="70B21A"/>
        </a:hlink>
        <a:folHlink>
          <a:srgbClr val="0066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1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B7EA7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6D467"/>
        </a:accent6>
        <a:hlink>
          <a:srgbClr val="70B21A"/>
        </a:hlink>
        <a:folHlink>
          <a:srgbClr val="0066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itle + bullets">
  <a:themeElements>
    <a:clrScheme name="Title + bullet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+ bullets">
      <a:majorFont>
        <a:latin typeface="DIN Next W1G Light"/>
        <a:ea typeface="ヒラギノ角ゴ ProN W3"/>
        <a:cs typeface="ヒラギノ角ゴ ProN W3"/>
      </a:majorFont>
      <a:minorFont>
        <a:latin typeface="DIN Next W1G Light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hu-HU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hu-HU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+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Title + bullets">
  <a:themeElements>
    <a:clrScheme name="Title + bullet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+ bullets">
      <a:majorFont>
        <a:latin typeface="DIN Next W1G Light"/>
        <a:ea typeface="ヒラギノ角ゴ ProN W3"/>
        <a:cs typeface="ヒラギノ角ゴ ProN W3"/>
      </a:majorFont>
      <a:minorFont>
        <a:latin typeface="DIN Next W1G Light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hu-HU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hu-HU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+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Title + text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Title + text">
    <a:majorFont>
      <a:latin typeface="DIN Next W1G Light"/>
      <a:ea typeface="ヒラギノ角ゴ ProN W3"/>
      <a:cs typeface="ヒラギノ角ゴ ProN W3"/>
    </a:majorFont>
    <a:minorFont>
      <a:latin typeface="DIN Next W1G Light"/>
      <a:ea typeface="ヒラギノ角ゴ ProN W3"/>
      <a:cs typeface="ヒラギノ角ゴ ProN W3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Title + text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Title + text">
    <a:majorFont>
      <a:latin typeface="DIN Next W1G Light"/>
      <a:ea typeface="ヒラギノ角ゴ ProN W3"/>
      <a:cs typeface="ヒラギノ角ゴ ProN W3"/>
    </a:majorFont>
    <a:minorFont>
      <a:latin typeface="DIN Next W1G Light"/>
      <a:ea typeface="ヒラギノ角ゴ ProN W3"/>
      <a:cs typeface="ヒラギノ角ゴ ProN W3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gyéni 1. séma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53A31D"/>
    </a:accent1>
    <a:accent2>
      <a:srgbClr val="B2B2B2"/>
    </a:accent2>
    <a:accent3>
      <a:srgbClr val="0070C0"/>
    </a:accent3>
    <a:accent4>
      <a:srgbClr val="C30C3E"/>
    </a:accent4>
    <a:accent5>
      <a:srgbClr val="FFC000"/>
    </a:accent5>
    <a:accent6>
      <a:srgbClr val="7030A0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Title + text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Title + text">
    <a:majorFont>
      <a:latin typeface="DIN Next W1G Light"/>
      <a:ea typeface="ヒラギノ角ゴ ProN W3"/>
      <a:cs typeface="ヒラギノ角ゴ ProN W3"/>
    </a:majorFont>
    <a:minorFont>
      <a:latin typeface="DIN Next W1G Light"/>
      <a:ea typeface="ヒラギノ角ゴ ProN W3"/>
      <a:cs typeface="ヒラギノ角ゴ ProN W3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47</Words>
  <Application>Microsoft Office PowerPoint</Application>
  <PresentationFormat>Diavetítés a képernyőre (4:3 oldalarány)</PresentationFormat>
  <Paragraphs>454</Paragraphs>
  <Slides>17</Slides>
  <Notes>1</Notes>
  <HiddenSlides>1</HiddenSlides>
  <MMClips>0</MMClips>
  <ScaleCrop>false</ScaleCrop>
  <HeadingPairs>
    <vt:vector size="6" baseType="variant">
      <vt:variant>
        <vt:lpstr>Téma</vt:lpstr>
      </vt:variant>
      <vt:variant>
        <vt:i4>6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7</vt:i4>
      </vt:variant>
    </vt:vector>
  </HeadingPairs>
  <TitlesOfParts>
    <vt:vector size="25" baseType="lpstr">
      <vt:lpstr>blank</vt:lpstr>
      <vt:lpstr>Section separator</vt:lpstr>
      <vt:lpstr>1_blank</vt:lpstr>
      <vt:lpstr>6_McK_OTP_hu</vt:lpstr>
      <vt:lpstr>Title + bullets</vt:lpstr>
      <vt:lpstr>1_Title + bullets</vt:lpstr>
      <vt:lpstr>think-cell Slide</vt:lpstr>
      <vt:lpstr>Diagram</vt:lpstr>
      <vt:lpstr>Piaci változások, pénzügyi ajánlatok    Előadó: Kormos Zoltán igazgató OTP Bank, Lakás Hitelek Főosztálya    2016.05.27.</vt:lpstr>
      <vt:lpstr>PowerPoint bemutató</vt:lpstr>
      <vt:lpstr>PowerPoint bemutató</vt:lpstr>
      <vt:lpstr>Ingatlanpiaci trendek</vt:lpstr>
      <vt:lpstr>PowerPoint bemutató</vt:lpstr>
      <vt:lpstr>PowerPoint bemutató</vt:lpstr>
      <vt:lpstr>A szigorított feltételek és az egyes régiós gazdasági  fellendülésének hatása jól tükröződik a  területi megoszláson</vt:lpstr>
      <vt:lpstr>PowerPoint bemutató</vt:lpstr>
      <vt:lpstr>PowerPoint bemutató</vt:lpstr>
      <vt:lpstr>Mekkora segítséget jelentenek a támogatások?</vt:lpstr>
      <vt:lpstr>PowerPoint bemutató</vt:lpstr>
      <vt:lpstr>Jegyzetoldal</vt:lpstr>
      <vt:lpstr>PowerPoint bemutató</vt:lpstr>
      <vt:lpstr>Támogatott lakáshitelek vs. Piaci </vt:lpstr>
      <vt:lpstr>Változó kamatozású vs. Fix kamatozású hitelek</vt:lpstr>
      <vt:lpstr>3 havi BUBOR alakulása az elmúlt több mint 15 évben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7T09:46:08Z</dcterms:created>
  <dcterms:modified xsi:type="dcterms:W3CDTF">2016-05-27T08:56:13Z</dcterms:modified>
</cp:coreProperties>
</file>